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3.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3" r:id="rId4"/>
    <p:sldMasterId id="2147483782" r:id="rId5"/>
  </p:sldMasterIdLst>
  <p:notesMasterIdLst>
    <p:notesMasterId r:id="rId14"/>
  </p:notesMasterIdLst>
  <p:handoutMasterIdLst>
    <p:handoutMasterId r:id="rId15"/>
  </p:handoutMasterIdLst>
  <p:sldIdLst>
    <p:sldId id="447" r:id="rId6"/>
    <p:sldId id="454" r:id="rId7"/>
    <p:sldId id="449" r:id="rId8"/>
    <p:sldId id="453" r:id="rId9"/>
    <p:sldId id="450" r:id="rId10"/>
    <p:sldId id="451" r:id="rId11"/>
    <p:sldId id="452" r:id="rId12"/>
    <p:sldId id="455" r:id="rId13"/>
  </p:sldIdLst>
  <p:sldSz cx="12195175" cy="6858000"/>
  <p:notesSz cx="6858000" cy="9144000"/>
  <p:custDataLst>
    <p:tags r:id="rId16"/>
  </p:custDataLst>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1"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9" clrIdx="0"/>
  <p:cmAuthor id="2" name="Ley, Susanne" initials="LS" lastIdx="2" clrIdx="1">
    <p:extLst>
      <p:ext uri="{19B8F6BF-5375-455C-9EA6-DF929625EA0E}">
        <p15:presenceInfo xmlns:p15="http://schemas.microsoft.com/office/powerpoint/2012/main" userId="S::susanne.ley@sap.com::b592323d-d4db-42f1-843c-c950659363eb" providerId="AD"/>
      </p:ext>
    </p:extLst>
  </p:cmAuthor>
  <p:cmAuthor id="3" name="Jule Mannack" initials="JM" lastIdx="18" clrIdx="2">
    <p:extLst>
      <p:ext uri="{19B8F6BF-5375-455C-9EA6-DF929625EA0E}">
        <p15:presenceInfo xmlns:p15="http://schemas.microsoft.com/office/powerpoint/2012/main" userId="Jule Mannack" providerId="None"/>
      </p:ext>
    </p:extLst>
  </p:cmAuthor>
  <p:cmAuthor id="4" name="Wei, Wei" initials="WW" lastIdx="25" clrIdx="3">
    <p:extLst>
      <p:ext uri="{19B8F6BF-5375-455C-9EA6-DF929625EA0E}">
        <p15:presenceInfo xmlns:p15="http://schemas.microsoft.com/office/powerpoint/2012/main" userId="S::wei.wei06@sap.com::8e0ec0de-9405-4d53-b68d-f16574d40fbb" providerId="AD"/>
      </p:ext>
    </p:extLst>
  </p:cmAuthor>
  <p:cmAuthor id="5" name="Wei, Wei" initials="WW [2]" lastIdx="13" clrIdx="4">
    <p:extLst>
      <p:ext uri="{19B8F6BF-5375-455C-9EA6-DF929625EA0E}">
        <p15:presenceInfo xmlns:p15="http://schemas.microsoft.com/office/powerpoint/2012/main" userId="S-1-5-21-74642-3284969411-2123768488-170776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46A7"/>
    <a:srgbClr val="00195A"/>
    <a:srgbClr val="FF0000"/>
    <a:srgbClr val="970A82"/>
    <a:srgbClr val="FF3399"/>
    <a:srgbClr val="FFFFFF"/>
    <a:srgbClr val="FEE3A1"/>
    <a:srgbClr val="FFF1D0"/>
    <a:srgbClr val="FFF8E7"/>
    <a:srgbClr val="FECE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49D655F-2204-4994-85D7-525DD1A352D3}" v="4" dt="2019-03-20T14:24:18.509"/>
    <p1510:client id="{FB15B24F-B0B1-4108-B1FA-2F83EE21F8D8}" v="86" dt="2019-03-20T13:46:26.808"/>
    <p1510:client id="{714D5C32-7997-4A3A-8CF7-B7DD9425ED79}" v="42" dt="2019-03-20T14:39:57.760"/>
    <p1510:client id="{77695868-66A6-F5E6-0D96-EFD260DFCA2C}" v="5" dt="2019-03-20T14:33:00.057"/>
    <p1510:client id="{DEE595AB-D4CC-44F1-23A6-32D6A1463CA4}" v="4" dt="2019-03-20T14:38:24.026"/>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3" d="100"/>
          <a:sy n="63" d="100"/>
        </p:scale>
        <p:origin x="780" y="64"/>
      </p:cViewPr>
      <p:guideLst>
        <p:guide pos="3841"/>
        <p:guide orient="horz" pos="216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23"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ran, Ha" userId="S::ha.tran@sap.com::a717d9dd-5c77-4896-9375-2786b667f31e" providerId="AD" clId="Web-{456F3032-BD11-16CE-DD8D-D808499177E9}"/>
    <pc:docChg chg="modSld">
      <pc:chgData name="Tran, Ha" userId="S::ha.tran@sap.com::a717d9dd-5c77-4896-9375-2786b667f31e" providerId="AD" clId="Web-{456F3032-BD11-16CE-DD8D-D808499177E9}" dt="2019-03-11T13:54:54.623" v="5" actId="20577"/>
      <pc:docMkLst>
        <pc:docMk/>
      </pc:docMkLst>
      <pc:sldChg chg="modSp">
        <pc:chgData name="Tran, Ha" userId="S::ha.tran@sap.com::a717d9dd-5c77-4896-9375-2786b667f31e" providerId="AD" clId="Web-{456F3032-BD11-16CE-DD8D-D808499177E9}" dt="2019-03-11T13:54:54.623" v="4" actId="20577"/>
        <pc:sldMkLst>
          <pc:docMk/>
          <pc:sldMk cId="1283380159" sldId="452"/>
        </pc:sldMkLst>
        <pc:spChg chg="mod">
          <ac:chgData name="Tran, Ha" userId="S::ha.tran@sap.com::a717d9dd-5c77-4896-9375-2786b667f31e" providerId="AD" clId="Web-{456F3032-BD11-16CE-DD8D-D808499177E9}" dt="2019-03-11T13:54:54.623" v="4" actId="20577"/>
          <ac:spMkLst>
            <pc:docMk/>
            <pc:sldMk cId="1283380159" sldId="452"/>
            <ac:spMk id="6" creationId="{52329796-B39E-4358-8733-91A156F575C0}"/>
          </ac:spMkLst>
        </pc:spChg>
      </pc:sldChg>
    </pc:docChg>
  </pc:docChgLst>
  <pc:docChgLst>
    <pc:chgData name="Wei, Wei" userId="S::wei.wei06@sap.com::8e0ec0de-9405-4d53-b68d-f16574d40fbb" providerId="AD" clId="Web-{DEC4A565-07FF-536C-F5D4-D3262F3A7786}"/>
    <pc:docChg chg="modSld">
      <pc:chgData name="Wei, Wei" userId="S::wei.wei06@sap.com::8e0ec0de-9405-4d53-b68d-f16574d40fbb" providerId="AD" clId="Web-{DEC4A565-07FF-536C-F5D4-D3262F3A7786}" dt="2019-03-05T12:05:22" v="1081" actId="20577"/>
      <pc:docMkLst>
        <pc:docMk/>
      </pc:docMkLst>
      <pc:sldChg chg="modSp addCm delCm modCm">
        <pc:chgData name="Wei, Wei" userId="S::wei.wei06@sap.com::8e0ec0de-9405-4d53-b68d-f16574d40fbb" providerId="AD" clId="Web-{DEC4A565-07FF-536C-F5D4-D3262F3A7786}" dt="2019-03-05T12:05:22" v="1080" actId="20577"/>
        <pc:sldMkLst>
          <pc:docMk/>
          <pc:sldMk cId="3321835105" sldId="453"/>
        </pc:sldMkLst>
        <pc:spChg chg="mod">
          <ac:chgData name="Wei, Wei" userId="S::wei.wei06@sap.com::8e0ec0de-9405-4d53-b68d-f16574d40fbb" providerId="AD" clId="Web-{DEC4A565-07FF-536C-F5D4-D3262F3A7786}" dt="2019-03-05T12:05:22" v="1080" actId="20577"/>
          <ac:spMkLst>
            <pc:docMk/>
            <pc:sldMk cId="3321835105" sldId="453"/>
            <ac:spMk id="66" creationId="{AA51B90A-52F4-4DD0-985A-AD0C246F511C}"/>
          </ac:spMkLst>
        </pc:spChg>
      </pc:sldChg>
    </pc:docChg>
  </pc:docChgLst>
  <pc:docChgLst>
    <pc:chgData name="Wei, Wei" userId="S::wei.wei06@sap.com::8e0ec0de-9405-4d53-b68d-f16574d40fbb" providerId="AD" clId="Web-{DDB92507-59FC-9BE9-ECEA-B1B77E6C7E0B}"/>
    <pc:docChg chg="modSld">
      <pc:chgData name="Wei, Wei" userId="S::wei.wei06@sap.com::8e0ec0de-9405-4d53-b68d-f16574d40fbb" providerId="AD" clId="Web-{DDB92507-59FC-9BE9-ECEA-B1B77E6C7E0B}" dt="2019-02-26T15:58:41.394" v="324" actId="20577"/>
      <pc:docMkLst>
        <pc:docMk/>
      </pc:docMkLst>
      <pc:sldChg chg="modSp addCm modCm">
        <pc:chgData name="Wei, Wei" userId="S::wei.wei06@sap.com::8e0ec0de-9405-4d53-b68d-f16574d40fbb" providerId="AD" clId="Web-{DDB92507-59FC-9BE9-ECEA-B1B77E6C7E0B}" dt="2019-02-26T15:58:34.691" v="323"/>
        <pc:sldMkLst>
          <pc:docMk/>
          <pc:sldMk cId="2621075307" sldId="449"/>
        </pc:sldMkLst>
        <pc:spChg chg="mod">
          <ac:chgData name="Wei, Wei" userId="S::wei.wei06@sap.com::8e0ec0de-9405-4d53-b68d-f16574d40fbb" providerId="AD" clId="Web-{DDB92507-59FC-9BE9-ECEA-B1B77E6C7E0B}" dt="2019-02-26T15:58:01.754" v="321" actId="20577"/>
          <ac:spMkLst>
            <pc:docMk/>
            <pc:sldMk cId="2621075307" sldId="449"/>
            <ac:spMk id="3" creationId="{3FD89844-461C-4738-8FE5-8A8A8C36EA17}"/>
          </ac:spMkLst>
        </pc:spChg>
      </pc:sldChg>
    </pc:docChg>
  </pc:docChgLst>
  <pc:docChgLst>
    <pc:chgData name="Wei, Wei" userId="S::wei.wei06@sap.com::8e0ec0de-9405-4d53-b68d-f16574d40fbb" providerId="AD" clId="Web-{DC9D7FD7-499D-65CB-A716-03B71E956A51}"/>
    <pc:docChg chg="modSld">
      <pc:chgData name="Wei, Wei" userId="S::wei.wei06@sap.com::8e0ec0de-9405-4d53-b68d-f16574d40fbb" providerId="AD" clId="Web-{DC9D7FD7-499D-65CB-A716-03B71E956A51}" dt="2019-03-08T10:10:42.889" v="39" actId="20577"/>
      <pc:docMkLst>
        <pc:docMk/>
      </pc:docMkLst>
      <pc:sldChg chg="modSp">
        <pc:chgData name="Wei, Wei" userId="S::wei.wei06@sap.com::8e0ec0de-9405-4d53-b68d-f16574d40fbb" providerId="AD" clId="Web-{DC9D7FD7-499D-65CB-A716-03B71E956A51}" dt="2019-03-08T10:10:42.874" v="38" actId="20577"/>
        <pc:sldMkLst>
          <pc:docMk/>
          <pc:sldMk cId="602851386" sldId="450"/>
        </pc:sldMkLst>
        <pc:spChg chg="mod">
          <ac:chgData name="Wei, Wei" userId="S::wei.wei06@sap.com::8e0ec0de-9405-4d53-b68d-f16574d40fbb" providerId="AD" clId="Web-{DC9D7FD7-499D-65CB-A716-03B71E956A51}" dt="2019-03-08T10:10:42.874" v="38" actId="20577"/>
          <ac:spMkLst>
            <pc:docMk/>
            <pc:sldMk cId="602851386" sldId="450"/>
            <ac:spMk id="57" creationId="{1F3C345B-F436-4CC0-A741-D4044F7E9D44}"/>
          </ac:spMkLst>
        </pc:spChg>
      </pc:sldChg>
    </pc:docChg>
  </pc:docChgLst>
  <pc:docChgLst>
    <pc:chgData name="Ley, Susanne" userId="S::susanne.ley@sap.com::b592323d-d4db-42f1-843c-c950659363eb" providerId="AD" clId="Web-{532D6BE8-ED8C-5336-D040-DE7D932C77AE}"/>
    <pc:docChg chg="modSld">
      <pc:chgData name="Ley, Susanne" userId="S::susanne.ley@sap.com::b592323d-d4db-42f1-843c-c950659363eb" providerId="AD" clId="Web-{532D6BE8-ED8C-5336-D040-DE7D932C77AE}" dt="2019-02-25T16:22:06.277" v="5"/>
      <pc:docMkLst>
        <pc:docMk/>
      </pc:docMkLst>
      <pc:sldChg chg="mod modShow">
        <pc:chgData name="Ley, Susanne" userId="S::susanne.ley@sap.com::b592323d-d4db-42f1-843c-c950659363eb" providerId="AD" clId="Web-{532D6BE8-ED8C-5336-D040-DE7D932C77AE}" dt="2019-02-25T16:22:01.947" v="4"/>
        <pc:sldMkLst>
          <pc:docMk/>
          <pc:sldMk cId="602851386" sldId="450"/>
        </pc:sldMkLst>
      </pc:sldChg>
      <pc:sldChg chg="mod modShow">
        <pc:chgData name="Ley, Susanne" userId="S::susanne.ley@sap.com::b592323d-d4db-42f1-843c-c950659363eb" providerId="AD" clId="Web-{532D6BE8-ED8C-5336-D040-DE7D932C77AE}" dt="2019-02-25T16:22:06.277" v="5"/>
        <pc:sldMkLst>
          <pc:docMk/>
          <pc:sldMk cId="1136880606" sldId="451"/>
        </pc:sldMkLst>
      </pc:sldChg>
    </pc:docChg>
  </pc:docChgLst>
  <pc:docChgLst>
    <pc:chgData name="Wei, Wei" userId="S::wei.wei06@sap.com::8e0ec0de-9405-4d53-b68d-f16574d40fbb" providerId="AD" clId="Web-{AD1B4D2F-A28F-04B7-BB80-89D79755E061}"/>
    <pc:docChg chg="modSld">
      <pc:chgData name="Wei, Wei" userId="S::wei.wei06@sap.com::8e0ec0de-9405-4d53-b68d-f16574d40fbb" providerId="AD" clId="Web-{AD1B4D2F-A28F-04B7-BB80-89D79755E061}" dt="2019-03-07T15:30:08.279" v="25" actId="20577"/>
      <pc:docMkLst>
        <pc:docMk/>
      </pc:docMkLst>
      <pc:sldChg chg="modSp">
        <pc:chgData name="Wei, Wei" userId="S::wei.wei06@sap.com::8e0ec0de-9405-4d53-b68d-f16574d40fbb" providerId="AD" clId="Web-{AD1B4D2F-A28F-04B7-BB80-89D79755E061}" dt="2019-03-07T15:30:08.279" v="24" actId="20577"/>
        <pc:sldMkLst>
          <pc:docMk/>
          <pc:sldMk cId="2621075307" sldId="449"/>
        </pc:sldMkLst>
        <pc:spChg chg="mod">
          <ac:chgData name="Wei, Wei" userId="S::wei.wei06@sap.com::8e0ec0de-9405-4d53-b68d-f16574d40fbb" providerId="AD" clId="Web-{AD1B4D2F-A28F-04B7-BB80-89D79755E061}" dt="2019-03-07T15:30:08.279" v="24" actId="20577"/>
          <ac:spMkLst>
            <pc:docMk/>
            <pc:sldMk cId="2621075307" sldId="449"/>
            <ac:spMk id="3" creationId="{3FD89844-461C-4738-8FE5-8A8A8C36EA17}"/>
          </ac:spMkLst>
        </pc:spChg>
      </pc:sldChg>
    </pc:docChg>
  </pc:docChgLst>
  <pc:docChgLst>
    <pc:chgData name="Wei, Wei" userId="S::wei.wei06@sap.com::8e0ec0de-9405-4d53-b68d-f16574d40fbb" providerId="AD" clId="Web-{89D89DAC-09AB-9432-45CB-7D8F3E2EF964}"/>
    <pc:docChg chg="modSld">
      <pc:chgData name="Wei, Wei" userId="S::wei.wei06@sap.com::8e0ec0de-9405-4d53-b68d-f16574d40fbb" providerId="AD" clId="Web-{89D89DAC-09AB-9432-45CB-7D8F3E2EF964}" dt="2019-03-05T09:44:36.041" v="765" actId="20577"/>
      <pc:docMkLst>
        <pc:docMk/>
      </pc:docMkLst>
      <pc:sldChg chg="modSp addCm delCm modCm">
        <pc:chgData name="Wei, Wei" userId="S::wei.wei06@sap.com::8e0ec0de-9405-4d53-b68d-f16574d40fbb" providerId="AD" clId="Web-{89D89DAC-09AB-9432-45CB-7D8F3E2EF964}" dt="2019-03-05T09:44:34.807" v="763" actId="20577"/>
        <pc:sldMkLst>
          <pc:docMk/>
          <pc:sldMk cId="1136880606" sldId="451"/>
        </pc:sldMkLst>
        <pc:spChg chg="mod">
          <ac:chgData name="Wei, Wei" userId="S::wei.wei06@sap.com::8e0ec0de-9405-4d53-b68d-f16574d40fbb" providerId="AD" clId="Web-{89D89DAC-09AB-9432-45CB-7D8F3E2EF964}" dt="2019-03-05T09:44:34.807" v="763" actId="20577"/>
          <ac:spMkLst>
            <pc:docMk/>
            <pc:sldMk cId="1136880606" sldId="451"/>
            <ac:spMk id="57" creationId="{1F3C345B-F436-4CC0-A741-D4044F7E9D44}"/>
          </ac:spMkLst>
        </pc:spChg>
      </pc:sldChg>
      <pc:sldChg chg="modSp addCm delCm modCm">
        <pc:chgData name="Wei, Wei" userId="S::wei.wei06@sap.com::8e0ec0de-9405-4d53-b68d-f16574d40fbb" providerId="AD" clId="Web-{89D89DAC-09AB-9432-45CB-7D8F3E2EF964}" dt="2019-03-05T09:44:24.604" v="762"/>
        <pc:sldMkLst>
          <pc:docMk/>
          <pc:sldMk cId="3321835105" sldId="453"/>
        </pc:sldMkLst>
        <pc:spChg chg="mod">
          <ac:chgData name="Wei, Wei" userId="S::wei.wei06@sap.com::8e0ec0de-9405-4d53-b68d-f16574d40fbb" providerId="AD" clId="Web-{89D89DAC-09AB-9432-45CB-7D8F3E2EF964}" dt="2019-03-05T09:07:21.524" v="301" actId="20577"/>
          <ac:spMkLst>
            <pc:docMk/>
            <pc:sldMk cId="3321835105" sldId="453"/>
            <ac:spMk id="6" creationId="{52329796-B39E-4358-8733-91A156F575C0}"/>
          </ac:spMkLst>
        </pc:spChg>
        <pc:spChg chg="mod">
          <ac:chgData name="Wei, Wei" userId="S::wei.wei06@sap.com::8e0ec0de-9405-4d53-b68d-f16574d40fbb" providerId="AD" clId="Web-{89D89DAC-09AB-9432-45CB-7D8F3E2EF964}" dt="2019-03-05T09:43:35.916" v="757" actId="20577"/>
          <ac:spMkLst>
            <pc:docMk/>
            <pc:sldMk cId="3321835105" sldId="453"/>
            <ac:spMk id="66" creationId="{AA51B90A-52F4-4DD0-985A-AD0C246F511C}"/>
          </ac:spMkLst>
        </pc:spChg>
      </pc:sldChg>
    </pc:docChg>
  </pc:docChgLst>
  <pc:docChgLst>
    <pc:chgData name="Wei, Wei" userId="S::wei.wei06@sap.com::8e0ec0de-9405-4d53-b68d-f16574d40fbb" providerId="AD" clId="Web-{4D39F413-41C3-3B7E-286D-1DA62702CE21}"/>
    <pc:docChg chg="modSld">
      <pc:chgData name="Wei, Wei" userId="S::wei.wei06@sap.com::8e0ec0de-9405-4d53-b68d-f16574d40fbb" providerId="AD" clId="Web-{4D39F413-41C3-3B7E-286D-1DA62702CE21}" dt="2019-03-08T09:01:37.071" v="5" actId="20577"/>
      <pc:docMkLst>
        <pc:docMk/>
      </pc:docMkLst>
      <pc:sldChg chg="modSp">
        <pc:chgData name="Wei, Wei" userId="S::wei.wei06@sap.com::8e0ec0de-9405-4d53-b68d-f16574d40fbb" providerId="AD" clId="Web-{4D39F413-41C3-3B7E-286D-1DA62702CE21}" dt="2019-03-08T09:01:37.071" v="4" actId="20577"/>
        <pc:sldMkLst>
          <pc:docMk/>
          <pc:sldMk cId="2621075307" sldId="449"/>
        </pc:sldMkLst>
        <pc:spChg chg="mod">
          <ac:chgData name="Wei, Wei" userId="S::wei.wei06@sap.com::8e0ec0de-9405-4d53-b68d-f16574d40fbb" providerId="AD" clId="Web-{4D39F413-41C3-3B7E-286D-1DA62702CE21}" dt="2019-03-08T09:01:37.071" v="4" actId="20577"/>
          <ac:spMkLst>
            <pc:docMk/>
            <pc:sldMk cId="2621075307" sldId="449"/>
            <ac:spMk id="3" creationId="{3FD89844-461C-4738-8FE5-8A8A8C36EA17}"/>
          </ac:spMkLst>
        </pc:spChg>
      </pc:sldChg>
    </pc:docChg>
  </pc:docChgLst>
  <pc:docChgLst>
    <pc:chgData name="Wei, Wei" userId="S::wei.wei06@sap.com::8e0ec0de-9405-4d53-b68d-f16574d40fbb" providerId="AD" clId="Web-{58CB87C0-9D17-8798-C964-B5978E89AD75}"/>
    <pc:docChg chg="addSld modSld">
      <pc:chgData name="Wei, Wei" userId="S::wei.wei06@sap.com::8e0ec0de-9405-4d53-b68d-f16574d40fbb" providerId="AD" clId="Web-{58CB87C0-9D17-8798-C964-B5978E89AD75}" dt="2019-02-25T10:11:40.939" v="88" actId="20577"/>
      <pc:docMkLst>
        <pc:docMk/>
      </pc:docMkLst>
      <pc:sldChg chg="modSp">
        <pc:chgData name="Wei, Wei" userId="S::wei.wei06@sap.com::8e0ec0de-9405-4d53-b68d-f16574d40fbb" providerId="AD" clId="Web-{58CB87C0-9D17-8798-C964-B5978E89AD75}" dt="2019-02-25T10:11:10.346" v="77" actId="20577"/>
        <pc:sldMkLst>
          <pc:docMk/>
          <pc:sldMk cId="2621075307" sldId="449"/>
        </pc:sldMkLst>
        <pc:spChg chg="mod">
          <ac:chgData name="Wei, Wei" userId="S::wei.wei06@sap.com::8e0ec0de-9405-4d53-b68d-f16574d40fbb" providerId="AD" clId="Web-{58CB87C0-9D17-8798-C964-B5978E89AD75}" dt="2019-02-25T10:09:46.158" v="26" actId="20577"/>
          <ac:spMkLst>
            <pc:docMk/>
            <pc:sldMk cId="2621075307" sldId="449"/>
            <ac:spMk id="3" creationId="{3FD89844-461C-4738-8FE5-8A8A8C36EA17}"/>
          </ac:spMkLst>
        </pc:spChg>
        <pc:spChg chg="mod">
          <ac:chgData name="Wei, Wei" userId="S::wei.wei06@sap.com::8e0ec0de-9405-4d53-b68d-f16574d40fbb" providerId="AD" clId="Web-{58CB87C0-9D17-8798-C964-B5978E89AD75}" dt="2019-02-25T10:11:10.346" v="77" actId="20577"/>
          <ac:spMkLst>
            <pc:docMk/>
            <pc:sldMk cId="2621075307" sldId="449"/>
            <ac:spMk id="22" creationId="{1A15397A-139C-4968-9BFE-F6ABEB7110D5}"/>
          </ac:spMkLst>
        </pc:spChg>
      </pc:sldChg>
      <pc:sldChg chg="modSp">
        <pc:chgData name="Wei, Wei" userId="S::wei.wei06@sap.com::8e0ec0de-9405-4d53-b68d-f16574d40fbb" providerId="AD" clId="Web-{58CB87C0-9D17-8798-C964-B5978E89AD75}" dt="2019-02-25T10:11:12.830" v="80" actId="20577"/>
        <pc:sldMkLst>
          <pc:docMk/>
          <pc:sldMk cId="602851386" sldId="450"/>
        </pc:sldMkLst>
        <pc:spChg chg="mod">
          <ac:chgData name="Wei, Wei" userId="S::wei.wei06@sap.com::8e0ec0de-9405-4d53-b68d-f16574d40fbb" providerId="AD" clId="Web-{58CB87C0-9D17-8798-C964-B5978E89AD75}" dt="2019-02-25T10:11:12.830" v="80" actId="20577"/>
          <ac:spMkLst>
            <pc:docMk/>
            <pc:sldMk cId="602851386" sldId="450"/>
            <ac:spMk id="22" creationId="{1A15397A-139C-4968-9BFE-F6ABEB7110D5}"/>
          </ac:spMkLst>
        </pc:spChg>
      </pc:sldChg>
      <pc:sldChg chg="modSp add replId">
        <pc:chgData name="Wei, Wei" userId="S::wei.wei06@sap.com::8e0ec0de-9405-4d53-b68d-f16574d40fbb" providerId="AD" clId="Web-{58CB87C0-9D17-8798-C964-B5978E89AD75}" dt="2019-02-25T10:11:40.939" v="87" actId="20577"/>
        <pc:sldMkLst>
          <pc:docMk/>
          <pc:sldMk cId="1136880606" sldId="451"/>
        </pc:sldMkLst>
        <pc:spChg chg="mod">
          <ac:chgData name="Wei, Wei" userId="S::wei.wei06@sap.com::8e0ec0de-9405-4d53-b68d-f16574d40fbb" providerId="AD" clId="Web-{58CB87C0-9D17-8798-C964-B5978E89AD75}" dt="2019-02-25T10:11:40.939" v="87" actId="20577"/>
          <ac:spMkLst>
            <pc:docMk/>
            <pc:sldMk cId="1136880606" sldId="451"/>
            <ac:spMk id="22" creationId="{1A15397A-139C-4968-9BFE-F6ABEB7110D5}"/>
          </ac:spMkLst>
        </pc:spChg>
      </pc:sldChg>
    </pc:docChg>
  </pc:docChgLst>
  <pc:docChgLst>
    <pc:chgData name="Wei, Wei" userId="8e0ec0de-9405-4d53-b68d-f16574d40fbb" providerId="ADAL" clId="{3030A3C0-7DDB-4615-AF45-D6167082FDA4}"/>
    <pc:docChg chg="undo redo custSel addSld delSld modSld">
      <pc:chgData name="Wei, Wei" userId="8e0ec0de-9405-4d53-b68d-f16574d40fbb" providerId="ADAL" clId="{3030A3C0-7DDB-4615-AF45-D6167082FDA4}" dt="2019-03-11T10:33:08.929" v="10507" actId="20577"/>
      <pc:docMkLst>
        <pc:docMk/>
      </pc:docMkLst>
      <pc:sldChg chg="modSp">
        <pc:chgData name="Wei, Wei" userId="8e0ec0de-9405-4d53-b68d-f16574d40fbb" providerId="ADAL" clId="{3030A3C0-7DDB-4615-AF45-D6167082FDA4}" dt="2019-03-08T09:04:00.721" v="10244" actId="20577"/>
        <pc:sldMkLst>
          <pc:docMk/>
          <pc:sldMk cId="2621075307" sldId="449"/>
        </pc:sldMkLst>
        <pc:spChg chg="mod">
          <ac:chgData name="Wei, Wei" userId="8e0ec0de-9405-4d53-b68d-f16574d40fbb" providerId="ADAL" clId="{3030A3C0-7DDB-4615-AF45-D6167082FDA4}" dt="2019-03-08T09:04:00.721" v="10244" actId="20577"/>
          <ac:spMkLst>
            <pc:docMk/>
            <pc:sldMk cId="2621075307" sldId="449"/>
            <ac:spMk id="3" creationId="{3FD89844-461C-4738-8FE5-8A8A8C36EA17}"/>
          </ac:spMkLst>
        </pc:spChg>
        <pc:spChg chg="mod">
          <ac:chgData name="Wei, Wei" userId="8e0ec0de-9405-4d53-b68d-f16574d40fbb" providerId="ADAL" clId="{3030A3C0-7DDB-4615-AF45-D6167082FDA4}" dt="2019-02-26T15:44:01.465" v="2203" actId="20577"/>
          <ac:spMkLst>
            <pc:docMk/>
            <pc:sldMk cId="2621075307" sldId="449"/>
            <ac:spMk id="22" creationId="{1A15397A-139C-4968-9BFE-F6ABEB7110D5}"/>
          </ac:spMkLst>
        </pc:spChg>
        <pc:spChg chg="mod">
          <ac:chgData name="Wei, Wei" userId="8e0ec0de-9405-4d53-b68d-f16574d40fbb" providerId="ADAL" clId="{3030A3C0-7DDB-4615-AF45-D6167082FDA4}" dt="2019-02-22T10:28:11.306" v="628" actId="20577"/>
          <ac:spMkLst>
            <pc:docMk/>
            <pc:sldMk cId="2621075307" sldId="449"/>
            <ac:spMk id="75" creationId="{7549D3A6-61C2-4EC2-A2EE-A17119E59DB6}"/>
          </ac:spMkLst>
        </pc:spChg>
      </pc:sldChg>
      <pc:sldChg chg="addSp delSp modSp delCm">
        <pc:chgData name="Wei, Wei" userId="8e0ec0de-9405-4d53-b68d-f16574d40fbb" providerId="ADAL" clId="{3030A3C0-7DDB-4615-AF45-D6167082FDA4}" dt="2019-03-05T12:41:26.220" v="8616" actId="14100"/>
        <pc:sldMkLst>
          <pc:docMk/>
          <pc:sldMk cId="602851386" sldId="450"/>
        </pc:sldMkLst>
        <pc:spChg chg="mod">
          <ac:chgData name="Wei, Wei" userId="8e0ec0de-9405-4d53-b68d-f16574d40fbb" providerId="ADAL" clId="{3030A3C0-7DDB-4615-AF45-D6167082FDA4}" dt="2019-02-22T10:43:06.765" v="881" actId="20577"/>
          <ac:spMkLst>
            <pc:docMk/>
            <pc:sldMk cId="602851386" sldId="450"/>
            <ac:spMk id="22" creationId="{1A15397A-139C-4968-9BFE-F6ABEB7110D5}"/>
          </ac:spMkLst>
        </pc:spChg>
        <pc:spChg chg="mod">
          <ac:chgData name="Wei, Wei" userId="8e0ec0de-9405-4d53-b68d-f16574d40fbb" providerId="ADAL" clId="{3030A3C0-7DDB-4615-AF45-D6167082FDA4}" dt="2019-02-22T09:55:32.480" v="65" actId="20577"/>
          <ac:spMkLst>
            <pc:docMk/>
            <pc:sldMk cId="602851386" sldId="450"/>
            <ac:spMk id="23" creationId="{5BD93C33-1D0D-495A-B7BA-8F4B366EE2C2}"/>
          </ac:spMkLst>
        </pc:spChg>
        <pc:spChg chg="mod">
          <ac:chgData name="Wei, Wei" userId="8e0ec0de-9405-4d53-b68d-f16574d40fbb" providerId="ADAL" clId="{3030A3C0-7DDB-4615-AF45-D6167082FDA4}" dt="2019-02-22T09:55:12.120" v="19" actId="20577"/>
          <ac:spMkLst>
            <pc:docMk/>
            <pc:sldMk cId="602851386" sldId="450"/>
            <ac:spMk id="25" creationId="{0F7FA3AC-2E37-4C1D-899F-43D804EDA184}"/>
          </ac:spMkLst>
        </pc:spChg>
        <pc:spChg chg="del">
          <ac:chgData name="Wei, Wei" userId="8e0ec0de-9405-4d53-b68d-f16574d40fbb" providerId="ADAL" clId="{3030A3C0-7DDB-4615-AF45-D6167082FDA4}" dt="2019-02-22T10:16:27.220" v="488" actId="478"/>
          <ac:spMkLst>
            <pc:docMk/>
            <pc:sldMk cId="602851386" sldId="450"/>
            <ac:spMk id="29" creationId="{D73A8975-3DCC-4575-8F53-262678546C3C}"/>
          </ac:spMkLst>
        </pc:spChg>
        <pc:spChg chg="add mod">
          <ac:chgData name="Wei, Wei" userId="8e0ec0de-9405-4d53-b68d-f16574d40fbb" providerId="ADAL" clId="{3030A3C0-7DDB-4615-AF45-D6167082FDA4}" dt="2019-03-05T12:41:26.220" v="8616" actId="14100"/>
          <ac:spMkLst>
            <pc:docMk/>
            <pc:sldMk cId="602851386" sldId="450"/>
            <ac:spMk id="57" creationId="{1F3C345B-F436-4CC0-A741-D4044F7E9D44}"/>
          </ac:spMkLst>
        </pc:spChg>
        <pc:spChg chg="add del mod">
          <ac:chgData name="Wei, Wei" userId="8e0ec0de-9405-4d53-b68d-f16574d40fbb" providerId="ADAL" clId="{3030A3C0-7DDB-4615-AF45-D6167082FDA4}" dt="2019-03-05T12:41:21.557" v="8615" actId="478"/>
          <ac:spMkLst>
            <pc:docMk/>
            <pc:sldMk cId="602851386" sldId="450"/>
            <ac:spMk id="58" creationId="{9B93194B-943E-47C9-9CBF-F937F8F988A7}"/>
          </ac:spMkLst>
        </pc:spChg>
        <pc:spChg chg="del">
          <ac:chgData name="Wei, Wei" userId="8e0ec0de-9405-4d53-b68d-f16574d40fbb" providerId="ADAL" clId="{3030A3C0-7DDB-4615-AF45-D6167082FDA4}" dt="2019-02-22T10:16:32.105" v="490" actId="478"/>
          <ac:spMkLst>
            <pc:docMk/>
            <pc:sldMk cId="602851386" sldId="450"/>
            <ac:spMk id="62" creationId="{DAA182E2-547D-411B-AAC5-CAB4958277E6}"/>
          </ac:spMkLst>
        </pc:spChg>
        <pc:spChg chg="del">
          <ac:chgData name="Wei, Wei" userId="8e0ec0de-9405-4d53-b68d-f16574d40fbb" providerId="ADAL" clId="{3030A3C0-7DDB-4615-AF45-D6167082FDA4}" dt="2019-02-22T10:16:33.156" v="491" actId="478"/>
          <ac:spMkLst>
            <pc:docMk/>
            <pc:sldMk cId="602851386" sldId="450"/>
            <ac:spMk id="63" creationId="{CF351720-F6A1-4BC5-8318-0AA53C2DAA15}"/>
          </ac:spMkLst>
        </pc:spChg>
        <pc:spChg chg="mod">
          <ac:chgData name="Wei, Wei" userId="8e0ec0de-9405-4d53-b68d-f16574d40fbb" providerId="ADAL" clId="{3030A3C0-7DDB-4615-AF45-D6167082FDA4}" dt="2019-02-22T10:29:27.759" v="722" actId="20577"/>
          <ac:spMkLst>
            <pc:docMk/>
            <pc:sldMk cId="602851386" sldId="450"/>
            <ac:spMk id="75" creationId="{7549D3A6-61C2-4EC2-A2EE-A17119E59DB6}"/>
          </ac:spMkLst>
        </pc:spChg>
        <pc:spChg chg="del">
          <ac:chgData name="Wei, Wei" userId="8e0ec0de-9405-4d53-b68d-f16574d40fbb" providerId="ADAL" clId="{3030A3C0-7DDB-4615-AF45-D6167082FDA4}" dt="2019-02-22T10:16:29.455" v="489" actId="478"/>
          <ac:spMkLst>
            <pc:docMk/>
            <pc:sldMk cId="602851386" sldId="450"/>
            <ac:spMk id="93" creationId="{7DDD61F8-8C77-4517-89BF-7F4333625A5A}"/>
          </ac:spMkLst>
        </pc:spChg>
      </pc:sldChg>
      <pc:sldChg chg="addSp delSp modSp addCm delCm modCm">
        <pc:chgData name="Wei, Wei" userId="8e0ec0de-9405-4d53-b68d-f16574d40fbb" providerId="ADAL" clId="{3030A3C0-7DDB-4615-AF45-D6167082FDA4}" dt="2019-03-11T10:33:08.929" v="10507" actId="20577"/>
        <pc:sldMkLst>
          <pc:docMk/>
          <pc:sldMk cId="1136880606" sldId="451"/>
        </pc:sldMkLst>
        <pc:spChg chg="mod">
          <ac:chgData name="Wei, Wei" userId="8e0ec0de-9405-4d53-b68d-f16574d40fbb" providerId="ADAL" clId="{3030A3C0-7DDB-4615-AF45-D6167082FDA4}" dt="2019-03-04T13:01:03.113" v="5918" actId="20577"/>
          <ac:spMkLst>
            <pc:docMk/>
            <pc:sldMk cId="1136880606" sldId="451"/>
            <ac:spMk id="22" creationId="{1A15397A-139C-4968-9BFE-F6ABEB7110D5}"/>
          </ac:spMkLst>
        </pc:spChg>
        <pc:spChg chg="mod">
          <ac:chgData name="Wei, Wei" userId="8e0ec0de-9405-4d53-b68d-f16574d40fbb" providerId="ADAL" clId="{3030A3C0-7DDB-4615-AF45-D6167082FDA4}" dt="2019-03-04T13:41:32.998" v="5972" actId="20577"/>
          <ac:spMkLst>
            <pc:docMk/>
            <pc:sldMk cId="1136880606" sldId="451"/>
            <ac:spMk id="23" creationId="{5BD93C33-1D0D-495A-B7BA-8F4B366EE2C2}"/>
          </ac:spMkLst>
        </pc:spChg>
        <pc:spChg chg="mod">
          <ac:chgData name="Wei, Wei" userId="8e0ec0de-9405-4d53-b68d-f16574d40fbb" providerId="ADAL" clId="{3030A3C0-7DDB-4615-AF45-D6167082FDA4}" dt="2019-03-11T09:27:26.469" v="10358" actId="20577"/>
          <ac:spMkLst>
            <pc:docMk/>
            <pc:sldMk cId="1136880606" sldId="451"/>
            <ac:spMk id="57" creationId="{1F3C345B-F436-4CC0-A741-D4044F7E9D44}"/>
          </ac:spMkLst>
        </pc:spChg>
        <pc:spChg chg="del mod">
          <ac:chgData name="Wei, Wei" userId="8e0ec0de-9405-4d53-b68d-f16574d40fbb" providerId="ADAL" clId="{3030A3C0-7DDB-4615-AF45-D6167082FDA4}" dt="2019-03-04T14:35:02.599" v="7476" actId="478"/>
          <ac:spMkLst>
            <pc:docMk/>
            <pc:sldMk cId="1136880606" sldId="451"/>
            <ac:spMk id="61" creationId="{018FD273-6711-4532-A104-E84C889FB1C3}"/>
          </ac:spMkLst>
        </pc:spChg>
        <pc:spChg chg="add del">
          <ac:chgData name="Wei, Wei" userId="8e0ec0de-9405-4d53-b68d-f16574d40fbb" providerId="ADAL" clId="{3030A3C0-7DDB-4615-AF45-D6167082FDA4}" dt="2019-03-04T14:36:07.639" v="7487"/>
          <ac:spMkLst>
            <pc:docMk/>
            <pc:sldMk cId="1136880606" sldId="451"/>
            <ac:spMk id="65" creationId="{5FE3B421-32EC-48BF-90F4-0AC8229A7FB7}"/>
          </ac:spMkLst>
        </pc:spChg>
        <pc:spChg chg="add mod">
          <ac:chgData name="Wei, Wei" userId="8e0ec0de-9405-4d53-b68d-f16574d40fbb" providerId="ADAL" clId="{3030A3C0-7DDB-4615-AF45-D6167082FDA4}" dt="2019-03-11T10:33:08.929" v="10507" actId="20577"/>
          <ac:spMkLst>
            <pc:docMk/>
            <pc:sldMk cId="1136880606" sldId="451"/>
            <ac:spMk id="66" creationId="{ECFC8337-EB44-4A36-BE76-A94B08FF9DE6}"/>
          </ac:spMkLst>
        </pc:spChg>
        <pc:spChg chg="del mod">
          <ac:chgData name="Wei, Wei" userId="8e0ec0de-9405-4d53-b68d-f16574d40fbb" providerId="ADAL" clId="{3030A3C0-7DDB-4615-AF45-D6167082FDA4}" dt="2019-03-04T14:35:57.001" v="7482" actId="478"/>
          <ac:spMkLst>
            <pc:docMk/>
            <pc:sldMk cId="1136880606" sldId="451"/>
            <ac:spMk id="67" creationId="{019AE7F2-7398-4E40-91E0-644DC3105C81}"/>
          </ac:spMkLst>
        </pc:spChg>
        <pc:spChg chg="mod">
          <ac:chgData name="Wei, Wei" userId="8e0ec0de-9405-4d53-b68d-f16574d40fbb" providerId="ADAL" clId="{3030A3C0-7DDB-4615-AF45-D6167082FDA4}" dt="2019-03-11T09:24:50.438" v="10298" actId="6549"/>
          <ac:spMkLst>
            <pc:docMk/>
            <pc:sldMk cId="1136880606" sldId="451"/>
            <ac:spMk id="75" creationId="{7549D3A6-61C2-4EC2-A2EE-A17119E59DB6}"/>
          </ac:spMkLst>
        </pc:spChg>
        <pc:spChg chg="del">
          <ac:chgData name="Wei, Wei" userId="8e0ec0de-9405-4d53-b68d-f16574d40fbb" providerId="ADAL" clId="{3030A3C0-7DDB-4615-AF45-D6167082FDA4}" dt="2019-03-04T14:35:58.595" v="7484" actId="478"/>
          <ac:spMkLst>
            <pc:docMk/>
            <pc:sldMk cId="1136880606" sldId="451"/>
            <ac:spMk id="76" creationId="{79D5F393-DFA6-4E32-B46E-9247902AE101}"/>
          </ac:spMkLst>
        </pc:spChg>
        <pc:spChg chg="add del">
          <ac:chgData name="Wei, Wei" userId="8e0ec0de-9405-4d53-b68d-f16574d40fbb" providerId="ADAL" clId="{3030A3C0-7DDB-4615-AF45-D6167082FDA4}" dt="2019-03-11T10:32:13.549" v="10485" actId="478"/>
          <ac:spMkLst>
            <pc:docMk/>
            <pc:sldMk cId="1136880606" sldId="451"/>
            <ac:spMk id="77" creationId="{7E5C5FB4-B3EA-43A1-87C1-4424A57BEE5B}"/>
          </ac:spMkLst>
        </pc:spChg>
        <pc:spChg chg="add del mod">
          <ac:chgData name="Wei, Wei" userId="8e0ec0de-9405-4d53-b68d-f16574d40fbb" providerId="ADAL" clId="{3030A3C0-7DDB-4615-AF45-D6167082FDA4}" dt="2019-03-11T10:32:13.549" v="10485" actId="478"/>
          <ac:spMkLst>
            <pc:docMk/>
            <pc:sldMk cId="1136880606" sldId="451"/>
            <ac:spMk id="78" creationId="{A1DE9074-5FB0-4830-AC8C-C3C65E168B80}"/>
          </ac:spMkLst>
        </pc:spChg>
        <pc:spChg chg="add del">
          <ac:chgData name="Wei, Wei" userId="8e0ec0de-9405-4d53-b68d-f16574d40fbb" providerId="ADAL" clId="{3030A3C0-7DDB-4615-AF45-D6167082FDA4}" dt="2019-03-11T10:32:13.549" v="10485" actId="478"/>
          <ac:spMkLst>
            <pc:docMk/>
            <pc:sldMk cId="1136880606" sldId="451"/>
            <ac:spMk id="79" creationId="{5C8AEDCA-680E-4067-A814-0B62114E5AE6}"/>
          </ac:spMkLst>
        </pc:spChg>
        <pc:spChg chg="del">
          <ac:chgData name="Wei, Wei" userId="8e0ec0de-9405-4d53-b68d-f16574d40fbb" providerId="ADAL" clId="{3030A3C0-7DDB-4615-AF45-D6167082FDA4}" dt="2019-03-04T14:35:55.440" v="7480" actId="478"/>
          <ac:spMkLst>
            <pc:docMk/>
            <pc:sldMk cId="1136880606" sldId="451"/>
            <ac:spMk id="80" creationId="{E603E5E0-7D0D-4467-983E-6757F51DC6CC}"/>
          </ac:spMkLst>
        </pc:spChg>
        <pc:spChg chg="del">
          <ac:chgData name="Wei, Wei" userId="8e0ec0de-9405-4d53-b68d-f16574d40fbb" providerId="ADAL" clId="{3030A3C0-7DDB-4615-AF45-D6167082FDA4}" dt="2019-03-04T14:35:59.323" v="7485" actId="478"/>
          <ac:spMkLst>
            <pc:docMk/>
            <pc:sldMk cId="1136880606" sldId="451"/>
            <ac:spMk id="81" creationId="{FCECC6E6-FA86-4C0D-877A-616982DEC4D6}"/>
          </ac:spMkLst>
        </pc:spChg>
        <pc:spChg chg="add del">
          <ac:chgData name="Wei, Wei" userId="8e0ec0de-9405-4d53-b68d-f16574d40fbb" providerId="ADAL" clId="{3030A3C0-7DDB-4615-AF45-D6167082FDA4}" dt="2019-03-11T10:32:18.135" v="10486" actId="478"/>
          <ac:spMkLst>
            <pc:docMk/>
            <pc:sldMk cId="1136880606" sldId="451"/>
            <ac:spMk id="82" creationId="{F4418D5F-0CBD-4271-9549-BF864A8126ED}"/>
          </ac:spMkLst>
        </pc:spChg>
        <pc:spChg chg="add del">
          <ac:chgData name="Wei, Wei" userId="8e0ec0de-9405-4d53-b68d-f16574d40fbb" providerId="ADAL" clId="{3030A3C0-7DDB-4615-AF45-D6167082FDA4}" dt="2019-03-11T10:32:18.135" v="10486" actId="478"/>
          <ac:spMkLst>
            <pc:docMk/>
            <pc:sldMk cId="1136880606" sldId="451"/>
            <ac:spMk id="88" creationId="{03ACD5FA-4E2A-4D58-9C45-9E2B1AE6D4C0}"/>
          </ac:spMkLst>
        </pc:spChg>
        <pc:grpChg chg="del">
          <ac:chgData name="Wei, Wei" userId="8e0ec0de-9405-4d53-b68d-f16574d40fbb" providerId="ADAL" clId="{3030A3C0-7DDB-4615-AF45-D6167082FDA4}" dt="2019-03-04T14:35:03.548" v="7477" actId="478"/>
          <ac:grpSpMkLst>
            <pc:docMk/>
            <pc:sldMk cId="1136880606" sldId="451"/>
            <ac:grpSpMk id="52" creationId="{2B4BF474-A607-44F4-9071-23F9BFCF17F4}"/>
          </ac:grpSpMkLst>
        </pc:grpChg>
        <pc:grpChg chg="add">
          <ac:chgData name="Wei, Wei" userId="8e0ec0de-9405-4d53-b68d-f16574d40fbb" providerId="ADAL" clId="{3030A3C0-7DDB-4615-AF45-D6167082FDA4}" dt="2019-03-04T14:35:38.712" v="7478"/>
          <ac:grpSpMkLst>
            <pc:docMk/>
            <pc:sldMk cId="1136880606" sldId="451"/>
            <ac:grpSpMk id="58" creationId="{E3718031-5484-45C1-96EE-AFEBEB1ECEE2}"/>
          </ac:grpSpMkLst>
        </pc:grpChg>
        <pc:grpChg chg="add del mod">
          <ac:chgData name="Wei, Wei" userId="8e0ec0de-9405-4d53-b68d-f16574d40fbb" providerId="ADAL" clId="{3030A3C0-7DDB-4615-AF45-D6167082FDA4}" dt="2019-03-11T10:32:13.549" v="10485" actId="478"/>
          <ac:grpSpMkLst>
            <pc:docMk/>
            <pc:sldMk cId="1136880606" sldId="451"/>
            <ac:grpSpMk id="68" creationId="{C9F9B95A-7862-476B-9094-087FB3FBAC65}"/>
          </ac:grpSpMkLst>
        </pc:grpChg>
        <pc:picChg chg="add del">
          <ac:chgData name="Wei, Wei" userId="8e0ec0de-9405-4d53-b68d-f16574d40fbb" providerId="ADAL" clId="{3030A3C0-7DDB-4615-AF45-D6167082FDA4}" dt="2019-03-11T10:32:13.549" v="10485" actId="478"/>
          <ac:picMkLst>
            <pc:docMk/>
            <pc:sldMk cId="1136880606" sldId="451"/>
            <ac:picMk id="89" creationId="{E5E655E4-AEF9-4027-9FE6-1BB74C44E22B}"/>
          </ac:picMkLst>
        </pc:picChg>
        <pc:picChg chg="add del">
          <ac:chgData name="Wei, Wei" userId="8e0ec0de-9405-4d53-b68d-f16574d40fbb" providerId="ADAL" clId="{3030A3C0-7DDB-4615-AF45-D6167082FDA4}" dt="2019-03-11T10:32:13.549" v="10485" actId="478"/>
          <ac:picMkLst>
            <pc:docMk/>
            <pc:sldMk cId="1136880606" sldId="451"/>
            <ac:picMk id="90" creationId="{A0DCD39A-E3C0-45E4-9D08-51918D01EDDF}"/>
          </ac:picMkLst>
        </pc:picChg>
        <pc:picChg chg="del">
          <ac:chgData name="Wei, Wei" userId="8e0ec0de-9405-4d53-b68d-f16574d40fbb" providerId="ADAL" clId="{3030A3C0-7DDB-4615-AF45-D6167082FDA4}" dt="2019-03-04T14:35:54.931" v="7479" actId="478"/>
          <ac:picMkLst>
            <pc:docMk/>
            <pc:sldMk cId="1136880606" sldId="451"/>
            <ac:picMk id="96" creationId="{ECE8CCA5-5D82-4131-A384-4116812566E4}"/>
          </ac:picMkLst>
        </pc:picChg>
        <pc:picChg chg="del">
          <ac:chgData name="Wei, Wei" userId="8e0ec0de-9405-4d53-b68d-f16574d40fbb" providerId="ADAL" clId="{3030A3C0-7DDB-4615-AF45-D6167082FDA4}" dt="2019-03-04T14:35:57.689" v="7483" actId="478"/>
          <ac:picMkLst>
            <pc:docMk/>
            <pc:sldMk cId="1136880606" sldId="451"/>
            <ac:picMk id="97" creationId="{A6DA9390-6892-43A6-A0D8-825FE1A5B626}"/>
          </ac:picMkLst>
        </pc:picChg>
      </pc:sldChg>
      <pc:sldChg chg="addSp delSp modSp add del addCm delCm modCm">
        <pc:chgData name="Wei, Wei" userId="8e0ec0de-9405-4d53-b68d-f16574d40fbb" providerId="ADAL" clId="{3030A3C0-7DDB-4615-AF45-D6167082FDA4}" dt="2019-03-11T09:16:03.374" v="10258" actId="20577"/>
        <pc:sldMkLst>
          <pc:docMk/>
          <pc:sldMk cId="1283380159" sldId="452"/>
        </pc:sldMkLst>
        <pc:spChg chg="mod">
          <ac:chgData name="Wei, Wei" userId="8e0ec0de-9405-4d53-b68d-f16574d40fbb" providerId="ADAL" clId="{3030A3C0-7DDB-4615-AF45-D6167082FDA4}" dt="2019-03-11T09:16:03.374" v="10258" actId="20577"/>
          <ac:spMkLst>
            <pc:docMk/>
            <pc:sldMk cId="1283380159" sldId="452"/>
            <ac:spMk id="6" creationId="{52329796-B39E-4358-8733-91A156F575C0}"/>
          </ac:spMkLst>
        </pc:spChg>
        <pc:spChg chg="add">
          <ac:chgData name="Wei, Wei" userId="8e0ec0de-9405-4d53-b68d-f16574d40fbb" providerId="ADAL" clId="{3030A3C0-7DDB-4615-AF45-D6167082FDA4}" dt="2019-03-04T10:14:24.402" v="5789"/>
          <ac:spMkLst>
            <pc:docMk/>
            <pc:sldMk cId="1283380159" sldId="452"/>
            <ac:spMk id="54" creationId="{FDF31EFD-0D4E-4E7F-9024-C3FCF7EE55BB}"/>
          </ac:spMkLst>
        </pc:spChg>
        <pc:spChg chg="del">
          <ac:chgData name="Wei, Wei" userId="8e0ec0de-9405-4d53-b68d-f16574d40fbb" providerId="ADAL" clId="{3030A3C0-7DDB-4615-AF45-D6167082FDA4}" dt="2019-03-04T10:14:23.868" v="5788" actId="478"/>
          <ac:spMkLst>
            <pc:docMk/>
            <pc:sldMk cId="1283380159" sldId="452"/>
            <ac:spMk id="60" creationId="{4851E232-9A08-418A-B4CC-176E17A6570C}"/>
          </ac:spMkLst>
        </pc:spChg>
        <pc:spChg chg="mod">
          <ac:chgData name="Wei, Wei" userId="8e0ec0de-9405-4d53-b68d-f16574d40fbb" providerId="ADAL" clId="{3030A3C0-7DDB-4615-AF45-D6167082FDA4}" dt="2019-03-01T13:34:55.489" v="2507" actId="14100"/>
          <ac:spMkLst>
            <pc:docMk/>
            <pc:sldMk cId="1283380159" sldId="452"/>
            <ac:spMk id="66" creationId="{AA51B90A-52F4-4DD0-985A-AD0C246F511C}"/>
          </ac:spMkLst>
        </pc:spChg>
        <pc:picChg chg="del">
          <ac:chgData name="Wei, Wei" userId="8e0ec0de-9405-4d53-b68d-f16574d40fbb" providerId="ADAL" clId="{3030A3C0-7DDB-4615-AF45-D6167082FDA4}" dt="2019-03-04T10:14:23.868" v="5788" actId="478"/>
          <ac:picMkLst>
            <pc:docMk/>
            <pc:sldMk cId="1283380159" sldId="452"/>
            <ac:picMk id="50" creationId="{6E014DCD-5027-40BE-9472-E3814C21CC18}"/>
          </ac:picMkLst>
        </pc:picChg>
        <pc:picChg chg="add">
          <ac:chgData name="Wei, Wei" userId="8e0ec0de-9405-4d53-b68d-f16574d40fbb" providerId="ADAL" clId="{3030A3C0-7DDB-4615-AF45-D6167082FDA4}" dt="2019-03-04T10:14:24.402" v="5789"/>
          <ac:picMkLst>
            <pc:docMk/>
            <pc:sldMk cId="1283380159" sldId="452"/>
            <ac:picMk id="53" creationId="{194A83EF-2CA4-420B-93E5-A059BBF15151}"/>
          </ac:picMkLst>
        </pc:picChg>
        <pc:picChg chg="add">
          <ac:chgData name="Wei, Wei" userId="8e0ec0de-9405-4d53-b68d-f16574d40fbb" providerId="ADAL" clId="{3030A3C0-7DDB-4615-AF45-D6167082FDA4}" dt="2019-03-04T10:14:24.402" v="5789"/>
          <ac:picMkLst>
            <pc:docMk/>
            <pc:sldMk cId="1283380159" sldId="452"/>
            <ac:picMk id="55" creationId="{7838421E-2BCE-4292-A5D8-3F68B239A623}"/>
          </ac:picMkLst>
        </pc:picChg>
        <pc:picChg chg="del">
          <ac:chgData name="Wei, Wei" userId="8e0ec0de-9405-4d53-b68d-f16574d40fbb" providerId="ADAL" clId="{3030A3C0-7DDB-4615-AF45-D6167082FDA4}" dt="2019-03-04T10:14:23.868" v="5788" actId="478"/>
          <ac:picMkLst>
            <pc:docMk/>
            <pc:sldMk cId="1283380159" sldId="452"/>
            <ac:picMk id="105" creationId="{17CAE407-ED69-42F8-A569-6816A5847D75}"/>
          </ac:picMkLst>
        </pc:picChg>
      </pc:sldChg>
      <pc:sldChg chg="addSp delSp modSp add addCm delCm modCm">
        <pc:chgData name="Wei, Wei" userId="8e0ec0de-9405-4d53-b68d-f16574d40fbb" providerId="ADAL" clId="{3030A3C0-7DDB-4615-AF45-D6167082FDA4}" dt="2019-03-11T10:31:16.112" v="10484" actId="207"/>
        <pc:sldMkLst>
          <pc:docMk/>
          <pc:sldMk cId="3321835105" sldId="453"/>
        </pc:sldMkLst>
        <pc:spChg chg="mod">
          <ac:chgData name="Wei, Wei" userId="8e0ec0de-9405-4d53-b68d-f16574d40fbb" providerId="ADAL" clId="{3030A3C0-7DDB-4615-AF45-D6167082FDA4}" dt="2019-03-06T09:07:39.432" v="9024" actId="20577"/>
          <ac:spMkLst>
            <pc:docMk/>
            <pc:sldMk cId="3321835105" sldId="453"/>
            <ac:spMk id="6" creationId="{52329796-B39E-4358-8733-91A156F575C0}"/>
          </ac:spMkLst>
        </pc:spChg>
        <pc:spChg chg="mod">
          <ac:chgData name="Wei, Wei" userId="8e0ec0de-9405-4d53-b68d-f16574d40fbb" providerId="ADAL" clId="{3030A3C0-7DDB-4615-AF45-D6167082FDA4}" dt="2019-03-01T15:42:36.437" v="2839" actId="20577"/>
          <ac:spMkLst>
            <pc:docMk/>
            <pc:sldMk cId="3321835105" sldId="453"/>
            <ac:spMk id="22" creationId="{1A15397A-139C-4968-9BFE-F6ABEB7110D5}"/>
          </ac:spMkLst>
        </pc:spChg>
        <pc:spChg chg="del mod">
          <ac:chgData name="Wei, Wei" userId="8e0ec0de-9405-4d53-b68d-f16574d40fbb" providerId="ADAL" clId="{3030A3C0-7DDB-4615-AF45-D6167082FDA4}" dt="2019-03-04T10:13:06.249" v="5784" actId="478"/>
          <ac:spMkLst>
            <pc:docMk/>
            <pc:sldMk cId="3321835105" sldId="453"/>
            <ac:spMk id="23" creationId="{5BD93C33-1D0D-495A-B7BA-8F4B366EE2C2}"/>
          </ac:spMkLst>
        </pc:spChg>
        <pc:spChg chg="mod">
          <ac:chgData name="Wei, Wei" userId="8e0ec0de-9405-4d53-b68d-f16574d40fbb" providerId="ADAL" clId="{3030A3C0-7DDB-4615-AF45-D6167082FDA4}" dt="2019-03-01T15:42:44.271" v="2849" actId="20577"/>
          <ac:spMkLst>
            <pc:docMk/>
            <pc:sldMk cId="3321835105" sldId="453"/>
            <ac:spMk id="25" creationId="{0F7FA3AC-2E37-4C1D-899F-43D804EDA184}"/>
          </ac:spMkLst>
        </pc:spChg>
        <pc:spChg chg="add">
          <ac:chgData name="Wei, Wei" userId="8e0ec0de-9405-4d53-b68d-f16574d40fbb" providerId="ADAL" clId="{3030A3C0-7DDB-4615-AF45-D6167082FDA4}" dt="2019-03-04T10:13:17.429" v="5785"/>
          <ac:spMkLst>
            <pc:docMk/>
            <pc:sldMk cId="3321835105" sldId="453"/>
            <ac:spMk id="48" creationId="{5FEB6003-0778-44C6-9441-D74E0C04C756}"/>
          </ac:spMkLst>
        </pc:spChg>
        <pc:spChg chg="add">
          <ac:chgData name="Wei, Wei" userId="8e0ec0de-9405-4d53-b68d-f16574d40fbb" providerId="ADAL" clId="{3030A3C0-7DDB-4615-AF45-D6167082FDA4}" dt="2019-03-04T10:13:17.429" v="5785"/>
          <ac:spMkLst>
            <pc:docMk/>
            <pc:sldMk cId="3321835105" sldId="453"/>
            <ac:spMk id="52" creationId="{8DF2DB9D-2CA3-4519-ACFC-9AB362A0B632}"/>
          </ac:spMkLst>
        </pc:spChg>
        <pc:spChg chg="add">
          <ac:chgData name="Wei, Wei" userId="8e0ec0de-9405-4d53-b68d-f16574d40fbb" providerId="ADAL" clId="{3030A3C0-7DDB-4615-AF45-D6167082FDA4}" dt="2019-03-04T10:13:17.429" v="5785"/>
          <ac:spMkLst>
            <pc:docMk/>
            <pc:sldMk cId="3321835105" sldId="453"/>
            <ac:spMk id="54" creationId="{3011BDC5-2F73-4125-B05F-7F18FB54E2D0}"/>
          </ac:spMkLst>
        </pc:spChg>
        <pc:spChg chg="add">
          <ac:chgData name="Wei, Wei" userId="8e0ec0de-9405-4d53-b68d-f16574d40fbb" providerId="ADAL" clId="{3030A3C0-7DDB-4615-AF45-D6167082FDA4}" dt="2019-03-04T10:13:17.429" v="5785"/>
          <ac:spMkLst>
            <pc:docMk/>
            <pc:sldMk cId="3321835105" sldId="453"/>
            <ac:spMk id="56" creationId="{CC6014B8-A178-4DE5-88CA-182F76ECA790}"/>
          </ac:spMkLst>
        </pc:spChg>
        <pc:spChg chg="del">
          <ac:chgData name="Wei, Wei" userId="8e0ec0de-9405-4d53-b68d-f16574d40fbb" providerId="ADAL" clId="{3030A3C0-7DDB-4615-AF45-D6167082FDA4}" dt="2019-03-04T10:13:03.536" v="5782" actId="478"/>
          <ac:spMkLst>
            <pc:docMk/>
            <pc:sldMk cId="3321835105" sldId="453"/>
            <ac:spMk id="60" creationId="{4851E232-9A08-418A-B4CC-176E17A6570C}"/>
          </ac:spMkLst>
        </pc:spChg>
        <pc:spChg chg="mod">
          <ac:chgData name="Wei, Wei" userId="8e0ec0de-9405-4d53-b68d-f16574d40fbb" providerId="ADAL" clId="{3030A3C0-7DDB-4615-AF45-D6167082FDA4}" dt="2019-03-01T16:02:16.043" v="2926" actId="948"/>
          <ac:spMkLst>
            <pc:docMk/>
            <pc:sldMk cId="3321835105" sldId="453"/>
            <ac:spMk id="64" creationId="{08E8AFFF-B31C-4A29-91D4-020B8B5394F1}"/>
          </ac:spMkLst>
        </pc:spChg>
        <pc:spChg chg="mod">
          <ac:chgData name="Wei, Wei" userId="8e0ec0de-9405-4d53-b68d-f16574d40fbb" providerId="ADAL" clId="{3030A3C0-7DDB-4615-AF45-D6167082FDA4}" dt="2019-03-11T10:31:16.112" v="10484" actId="207"/>
          <ac:spMkLst>
            <pc:docMk/>
            <pc:sldMk cId="3321835105" sldId="453"/>
            <ac:spMk id="66" creationId="{AA51B90A-52F4-4DD0-985A-AD0C246F511C}"/>
          </ac:spMkLst>
        </pc:spChg>
        <pc:spChg chg="del">
          <ac:chgData name="Wei, Wei" userId="8e0ec0de-9405-4d53-b68d-f16574d40fbb" providerId="ADAL" clId="{3030A3C0-7DDB-4615-AF45-D6167082FDA4}" dt="2019-03-01T15:59:56.752" v="2905" actId="478"/>
          <ac:spMkLst>
            <pc:docMk/>
            <pc:sldMk cId="3321835105" sldId="453"/>
            <ac:spMk id="68" creationId="{6361181A-DD1F-4D08-B4D8-C11F57497DBC}"/>
          </ac:spMkLst>
        </pc:spChg>
        <pc:spChg chg="del">
          <ac:chgData name="Wei, Wei" userId="8e0ec0de-9405-4d53-b68d-f16574d40fbb" providerId="ADAL" clId="{3030A3C0-7DDB-4615-AF45-D6167082FDA4}" dt="2019-03-01T15:59:55.186" v="2904" actId="478"/>
          <ac:spMkLst>
            <pc:docMk/>
            <pc:sldMk cId="3321835105" sldId="453"/>
            <ac:spMk id="69" creationId="{4A68B99A-24D9-484A-BBD4-B2E4F0598796}"/>
          </ac:spMkLst>
        </pc:spChg>
        <pc:spChg chg="del">
          <ac:chgData name="Wei, Wei" userId="8e0ec0de-9405-4d53-b68d-f16574d40fbb" providerId="ADAL" clId="{3030A3C0-7DDB-4615-AF45-D6167082FDA4}" dt="2019-03-04T10:13:05.407" v="5783" actId="478"/>
          <ac:spMkLst>
            <pc:docMk/>
            <pc:sldMk cId="3321835105" sldId="453"/>
            <ac:spMk id="71" creationId="{162FFDF4-28D7-4DB8-A796-D646E5B6FE41}"/>
          </ac:spMkLst>
        </pc:spChg>
        <pc:spChg chg="del">
          <ac:chgData name="Wei, Wei" userId="8e0ec0de-9405-4d53-b68d-f16574d40fbb" providerId="ADAL" clId="{3030A3C0-7DDB-4615-AF45-D6167082FDA4}" dt="2019-03-01T15:59:59.551" v="2907" actId="478"/>
          <ac:spMkLst>
            <pc:docMk/>
            <pc:sldMk cId="3321835105" sldId="453"/>
            <ac:spMk id="72" creationId="{A8C49809-4681-4FDD-BBCA-61842DA14B4E}"/>
          </ac:spMkLst>
        </pc:spChg>
        <pc:spChg chg="mod">
          <ac:chgData name="Wei, Wei" userId="8e0ec0de-9405-4d53-b68d-f16574d40fbb" providerId="ADAL" clId="{3030A3C0-7DDB-4615-AF45-D6167082FDA4}" dt="2019-03-04T14:18:03.916" v="7149" actId="20577"/>
          <ac:spMkLst>
            <pc:docMk/>
            <pc:sldMk cId="3321835105" sldId="453"/>
            <ac:spMk id="75" creationId="{7549D3A6-61C2-4EC2-A2EE-A17119E59DB6}"/>
          </ac:spMkLst>
        </pc:spChg>
        <pc:picChg chg="del">
          <ac:chgData name="Wei, Wei" userId="8e0ec0de-9405-4d53-b68d-f16574d40fbb" providerId="ADAL" clId="{3030A3C0-7DDB-4615-AF45-D6167082FDA4}" dt="2019-03-01T15:59:53.469" v="2903" actId="478"/>
          <ac:picMkLst>
            <pc:docMk/>
            <pc:sldMk cId="3321835105" sldId="453"/>
            <ac:picMk id="3" creationId="{58F42FBA-6960-4A68-A6F2-32758D923F50}"/>
          </ac:picMkLst>
        </pc:picChg>
        <pc:picChg chg="del">
          <ac:chgData name="Wei, Wei" userId="8e0ec0de-9405-4d53-b68d-f16574d40fbb" providerId="ADAL" clId="{3030A3C0-7DDB-4615-AF45-D6167082FDA4}" dt="2019-03-01T15:59:57.435" v="2906" actId="478"/>
          <ac:picMkLst>
            <pc:docMk/>
            <pc:sldMk cId="3321835105" sldId="453"/>
            <ac:picMk id="5" creationId="{7CBB41FD-21FF-413F-979B-8C5C37BC8386}"/>
          </ac:picMkLst>
        </pc:picChg>
        <pc:picChg chg="del">
          <ac:chgData name="Wei, Wei" userId="8e0ec0de-9405-4d53-b68d-f16574d40fbb" providerId="ADAL" clId="{3030A3C0-7DDB-4615-AF45-D6167082FDA4}" dt="2019-03-04T10:13:01.095" v="5780" actId="478"/>
          <ac:picMkLst>
            <pc:docMk/>
            <pc:sldMk cId="3321835105" sldId="453"/>
            <ac:picMk id="50" creationId="{6E014DCD-5027-40BE-9472-E3814C21CC18}"/>
          </ac:picMkLst>
        </pc:picChg>
        <pc:picChg chg="add">
          <ac:chgData name="Wei, Wei" userId="8e0ec0de-9405-4d53-b68d-f16574d40fbb" providerId="ADAL" clId="{3030A3C0-7DDB-4615-AF45-D6167082FDA4}" dt="2019-03-04T10:13:17.429" v="5785"/>
          <ac:picMkLst>
            <pc:docMk/>
            <pc:sldMk cId="3321835105" sldId="453"/>
            <ac:picMk id="51" creationId="{3243BB4E-D63B-48D4-8C21-C18097F10D11}"/>
          </ac:picMkLst>
        </pc:picChg>
        <pc:picChg chg="add">
          <ac:chgData name="Wei, Wei" userId="8e0ec0de-9405-4d53-b68d-f16574d40fbb" providerId="ADAL" clId="{3030A3C0-7DDB-4615-AF45-D6167082FDA4}" dt="2019-03-04T10:13:17.429" v="5785"/>
          <ac:picMkLst>
            <pc:docMk/>
            <pc:sldMk cId="3321835105" sldId="453"/>
            <ac:picMk id="53" creationId="{45813FBA-69E7-4801-B052-E74533BF9065}"/>
          </ac:picMkLst>
        </pc:picChg>
        <pc:picChg chg="add">
          <ac:chgData name="Wei, Wei" userId="8e0ec0de-9405-4d53-b68d-f16574d40fbb" providerId="ADAL" clId="{3030A3C0-7DDB-4615-AF45-D6167082FDA4}" dt="2019-03-04T10:13:17.429" v="5785"/>
          <ac:picMkLst>
            <pc:docMk/>
            <pc:sldMk cId="3321835105" sldId="453"/>
            <ac:picMk id="55" creationId="{1B63D2A6-CB99-4E4F-AB7E-8D2AF5E8F873}"/>
          </ac:picMkLst>
        </pc:picChg>
        <pc:picChg chg="add">
          <ac:chgData name="Wei, Wei" userId="8e0ec0de-9405-4d53-b68d-f16574d40fbb" providerId="ADAL" clId="{3030A3C0-7DDB-4615-AF45-D6167082FDA4}" dt="2019-03-04T10:13:26.783" v="5786"/>
          <ac:picMkLst>
            <pc:docMk/>
            <pc:sldMk cId="3321835105" sldId="453"/>
            <ac:picMk id="61" creationId="{1DBB7B74-DC6A-4727-96F3-A4B0D7889996}"/>
          </ac:picMkLst>
        </pc:picChg>
        <pc:picChg chg="del">
          <ac:chgData name="Wei, Wei" userId="8e0ec0de-9405-4d53-b68d-f16574d40fbb" providerId="ADAL" clId="{3030A3C0-7DDB-4615-AF45-D6167082FDA4}" dt="2019-03-04T10:12:33.364" v="5778" actId="478"/>
          <ac:picMkLst>
            <pc:docMk/>
            <pc:sldMk cId="3321835105" sldId="453"/>
            <ac:picMk id="70" creationId="{AF56B7E6-43E1-4250-B66D-D347CDCD011B}"/>
          </ac:picMkLst>
        </pc:picChg>
        <pc:picChg chg="del">
          <ac:chgData name="Wei, Wei" userId="8e0ec0de-9405-4d53-b68d-f16574d40fbb" providerId="ADAL" clId="{3030A3C0-7DDB-4615-AF45-D6167082FDA4}" dt="2019-03-04T10:13:02.048" v="5781" actId="478"/>
          <ac:picMkLst>
            <pc:docMk/>
            <pc:sldMk cId="3321835105" sldId="453"/>
            <ac:picMk id="105" creationId="{17CAE407-ED69-42F8-A569-6816A5847D75}"/>
          </ac:picMkLst>
        </pc:picChg>
        <pc:picChg chg="del">
          <ac:chgData name="Wei, Wei" userId="8e0ec0de-9405-4d53-b68d-f16574d40fbb" providerId="ADAL" clId="{3030A3C0-7DDB-4615-AF45-D6167082FDA4}" dt="2019-03-04T10:12:34.280" v="5779" actId="478"/>
          <ac:picMkLst>
            <pc:docMk/>
            <pc:sldMk cId="3321835105" sldId="453"/>
            <ac:picMk id="106" creationId="{16D3741E-9674-4F69-B92E-84206CF0A9DE}"/>
          </ac:picMkLst>
        </pc:picChg>
      </pc:sldChg>
      <pc:sldChg chg="modSp add addCm modCm">
        <pc:chgData name="Wei, Wei" userId="8e0ec0de-9405-4d53-b68d-f16574d40fbb" providerId="ADAL" clId="{3030A3C0-7DDB-4615-AF45-D6167082FDA4}" dt="2019-03-07T10:11:16.621" v="10095" actId="20577"/>
        <pc:sldMkLst>
          <pc:docMk/>
          <pc:sldMk cId="2328860535" sldId="454"/>
        </pc:sldMkLst>
        <pc:spChg chg="mod">
          <ac:chgData name="Wei, Wei" userId="8e0ec0de-9405-4d53-b68d-f16574d40fbb" providerId="ADAL" clId="{3030A3C0-7DDB-4615-AF45-D6167082FDA4}" dt="2019-03-07T10:11:16.621" v="10095" actId="20577"/>
          <ac:spMkLst>
            <pc:docMk/>
            <pc:sldMk cId="2328860535" sldId="454"/>
            <ac:spMk id="2" creationId="{04DB7E13-390E-4A80-A1DA-DFC006E3F191}"/>
          </ac:spMkLst>
        </pc:spChg>
        <pc:spChg chg="mod">
          <ac:chgData name="Wei, Wei" userId="8e0ec0de-9405-4d53-b68d-f16574d40fbb" providerId="ADAL" clId="{3030A3C0-7DDB-4615-AF45-D6167082FDA4}" dt="2019-03-07T09:52:39.469" v="9151" actId="20577"/>
          <ac:spMkLst>
            <pc:docMk/>
            <pc:sldMk cId="2328860535" sldId="454"/>
            <ac:spMk id="3" creationId="{C1124372-2255-4523-B678-40B7CD4901E0}"/>
          </ac:spMkLst>
        </pc:spChg>
      </pc:sldChg>
      <pc:sldChg chg="modSp add">
        <pc:chgData name="Wei, Wei" userId="8e0ec0de-9405-4d53-b68d-f16574d40fbb" providerId="ADAL" clId="{3030A3C0-7DDB-4615-AF45-D6167082FDA4}" dt="2019-03-07T10:21:14.777" v="10135" actId="20577"/>
        <pc:sldMkLst>
          <pc:docMk/>
          <pc:sldMk cId="2015211706" sldId="455"/>
        </pc:sldMkLst>
        <pc:spChg chg="mod">
          <ac:chgData name="Wei, Wei" userId="8e0ec0de-9405-4d53-b68d-f16574d40fbb" providerId="ADAL" clId="{3030A3C0-7DDB-4615-AF45-D6167082FDA4}" dt="2019-03-07T10:08:19.533" v="9855" actId="20577"/>
          <ac:spMkLst>
            <pc:docMk/>
            <pc:sldMk cId="2015211706" sldId="455"/>
            <ac:spMk id="2" creationId="{EDB2824D-A8B9-4D7F-A97E-FC026F6C670C}"/>
          </ac:spMkLst>
        </pc:spChg>
        <pc:spChg chg="mod">
          <ac:chgData name="Wei, Wei" userId="8e0ec0de-9405-4d53-b68d-f16574d40fbb" providerId="ADAL" clId="{3030A3C0-7DDB-4615-AF45-D6167082FDA4}" dt="2019-03-07T10:21:14.777" v="10135" actId="20577"/>
          <ac:spMkLst>
            <pc:docMk/>
            <pc:sldMk cId="2015211706" sldId="455"/>
            <ac:spMk id="3" creationId="{780B31BF-CDD8-49C8-9040-4C7BAEB5B44E}"/>
          </ac:spMkLst>
        </pc:spChg>
      </pc:sldChg>
    </pc:docChg>
  </pc:docChgLst>
  <pc:docChgLst>
    <pc:chgData name="Wei, Wei" userId="S::wei.wei06@sap.com::8e0ec0de-9405-4d53-b68d-f16574d40fbb" providerId="AD" clId="Web-{6EC1F6CF-DB3A-DFC5-FAAC-4D3D1E281A28}"/>
    <pc:docChg chg="modSld">
      <pc:chgData name="Wei, Wei" userId="S::wei.wei06@sap.com::8e0ec0de-9405-4d53-b68d-f16574d40fbb" providerId="AD" clId="Web-{6EC1F6CF-DB3A-DFC5-FAAC-4D3D1E281A28}" dt="2019-02-27T15:04:00.857" v="424" actId="20577"/>
      <pc:docMkLst>
        <pc:docMk/>
      </pc:docMkLst>
      <pc:sldChg chg="modSp addCm delCm">
        <pc:chgData name="Wei, Wei" userId="S::wei.wei06@sap.com::8e0ec0de-9405-4d53-b68d-f16574d40fbb" providerId="AD" clId="Web-{6EC1F6CF-DB3A-DFC5-FAAC-4D3D1E281A28}" dt="2019-02-27T15:03:13.310" v="423"/>
        <pc:sldMkLst>
          <pc:docMk/>
          <pc:sldMk cId="602851386" sldId="450"/>
        </pc:sldMkLst>
        <pc:spChg chg="mod">
          <ac:chgData name="Wei, Wei" userId="S::wei.wei06@sap.com::8e0ec0de-9405-4d53-b68d-f16574d40fbb" providerId="AD" clId="Web-{6EC1F6CF-DB3A-DFC5-FAAC-4D3D1E281A28}" dt="2019-02-27T15:01:59.153" v="420" actId="20577"/>
          <ac:spMkLst>
            <pc:docMk/>
            <pc:sldMk cId="602851386" sldId="450"/>
            <ac:spMk id="57" creationId="{1F3C345B-F436-4CC0-A741-D4044F7E9D44}"/>
          </ac:spMkLst>
        </pc:spChg>
      </pc:sldChg>
    </pc:docChg>
  </pc:docChgLst>
  <pc:docChgLst>
    <pc:chgData name="Wei, Wei" userId="S::wei.wei06@sap.com::8e0ec0de-9405-4d53-b68d-f16574d40fbb" providerId="AD" clId="Web-{C5AFBC79-22CB-5CA2-0732-DB85FB57AE03}"/>
    <pc:docChg chg="modSld">
      <pc:chgData name="Wei, Wei" userId="S::wei.wei06@sap.com::8e0ec0de-9405-4d53-b68d-f16574d40fbb" providerId="AD" clId="Web-{C5AFBC79-22CB-5CA2-0732-DB85FB57AE03}" dt="2019-02-26T15:42:06.563" v="23" actId="20577"/>
      <pc:docMkLst>
        <pc:docMk/>
      </pc:docMkLst>
      <pc:sldChg chg="modSp">
        <pc:chgData name="Wei, Wei" userId="S::wei.wei06@sap.com::8e0ec0de-9405-4d53-b68d-f16574d40fbb" providerId="AD" clId="Web-{C5AFBC79-22CB-5CA2-0732-DB85FB57AE03}" dt="2019-02-26T15:42:06.547" v="22" actId="20577"/>
        <pc:sldMkLst>
          <pc:docMk/>
          <pc:sldMk cId="2621075307" sldId="449"/>
        </pc:sldMkLst>
        <pc:spChg chg="mod">
          <ac:chgData name="Wei, Wei" userId="S::wei.wei06@sap.com::8e0ec0de-9405-4d53-b68d-f16574d40fbb" providerId="AD" clId="Web-{C5AFBC79-22CB-5CA2-0732-DB85FB57AE03}" dt="2019-02-26T15:42:06.547" v="22" actId="20577"/>
          <ac:spMkLst>
            <pc:docMk/>
            <pc:sldMk cId="2621075307" sldId="449"/>
            <ac:spMk id="3" creationId="{3FD89844-461C-4738-8FE5-8A8A8C36EA17}"/>
          </ac:spMkLst>
        </pc:spChg>
      </pc:sldChg>
      <pc:sldChg chg="addCm">
        <pc:chgData name="Wei, Wei" userId="S::wei.wei06@sap.com::8e0ec0de-9405-4d53-b68d-f16574d40fbb" providerId="AD" clId="Web-{C5AFBC79-22CB-5CA2-0732-DB85FB57AE03}" dt="2019-02-26T15:36:36.457" v="3"/>
        <pc:sldMkLst>
          <pc:docMk/>
          <pc:sldMk cId="602851386" sldId="450"/>
        </pc:sldMkLst>
      </pc:sldChg>
    </pc:docChg>
  </pc:docChgLst>
  <pc:docChgLst>
    <pc:chgData name="Wei, Wei" userId="S::wei.wei06@sap.com::8e0ec0de-9405-4d53-b68d-f16574d40fbb" providerId="AD" clId="Web-{896CA9CE-EDDF-DFB3-4576-B9F4825709F8}"/>
    <pc:docChg chg="">
      <pc:chgData name="Wei, Wei" userId="S::wei.wei06@sap.com::8e0ec0de-9405-4d53-b68d-f16574d40fbb" providerId="AD" clId="Web-{896CA9CE-EDDF-DFB3-4576-B9F4825709F8}" dt="2019-03-04T07:54:59.276" v="0"/>
      <pc:docMkLst>
        <pc:docMk/>
      </pc:docMkLst>
      <pc:sldChg chg="delCm">
        <pc:chgData name="Wei, Wei" userId="S::wei.wei06@sap.com::8e0ec0de-9405-4d53-b68d-f16574d40fbb" providerId="AD" clId="Web-{896CA9CE-EDDF-DFB3-4576-B9F4825709F8}" dt="2019-03-04T07:54:59.276" v="0"/>
        <pc:sldMkLst>
          <pc:docMk/>
          <pc:sldMk cId="2621075307" sldId="449"/>
        </pc:sldMkLst>
      </pc:sldChg>
    </pc:docChg>
  </pc:docChgLst>
  <pc:docChgLst>
    <pc:chgData name="Wei, Wei" userId="S::wei.wei06@sap.com::8e0ec0de-9405-4d53-b68d-f16574d40fbb" providerId="AD" clId="Web-{CEEA1A10-F0BC-26C4-CD05-66E7A275F6E0}"/>
    <pc:docChg chg="modSld">
      <pc:chgData name="Wei, Wei" userId="S::wei.wei06@sap.com::8e0ec0de-9405-4d53-b68d-f16574d40fbb" providerId="AD" clId="Web-{CEEA1A10-F0BC-26C4-CD05-66E7A275F6E0}" dt="2019-03-06T08:56:16.613" v="57" actId="20577"/>
      <pc:docMkLst>
        <pc:docMk/>
      </pc:docMkLst>
      <pc:sldChg chg="modSp">
        <pc:chgData name="Wei, Wei" userId="S::wei.wei06@sap.com::8e0ec0de-9405-4d53-b68d-f16574d40fbb" providerId="AD" clId="Web-{CEEA1A10-F0BC-26C4-CD05-66E7A275F6E0}" dt="2019-03-06T08:56:16.613" v="57" actId="20577"/>
        <pc:sldMkLst>
          <pc:docMk/>
          <pc:sldMk cId="3321835105" sldId="453"/>
        </pc:sldMkLst>
        <pc:spChg chg="mod">
          <ac:chgData name="Wei, Wei" userId="S::wei.wei06@sap.com::8e0ec0de-9405-4d53-b68d-f16574d40fbb" providerId="AD" clId="Web-{CEEA1A10-F0BC-26C4-CD05-66E7A275F6E0}" dt="2019-03-06T08:56:16.613" v="57" actId="20577"/>
          <ac:spMkLst>
            <pc:docMk/>
            <pc:sldMk cId="3321835105" sldId="453"/>
            <ac:spMk id="6" creationId="{52329796-B39E-4358-8733-91A156F575C0}"/>
          </ac:spMkLst>
        </pc:spChg>
      </pc:sldChg>
    </pc:docChg>
  </pc:docChgLst>
  <pc:docChgLst>
    <pc:chgData name="Ley, Susanne" userId="b592323d-d4db-42f1-843c-c950659363eb" providerId="ADAL" clId="{AD51DBA3-59C4-46C8-80DB-42E3314E6DF7}"/>
    <pc:docChg chg="modSld">
      <pc:chgData name="Ley, Susanne" userId="b592323d-d4db-42f1-843c-c950659363eb" providerId="ADAL" clId="{AD51DBA3-59C4-46C8-80DB-42E3314E6DF7}" dt="2019-02-22T08:25:06.361" v="289" actId="20577"/>
      <pc:docMkLst>
        <pc:docMk/>
      </pc:docMkLst>
    </pc:docChg>
  </pc:docChgLst>
  <pc:docChgLst>
    <pc:chgData name="Wei, Wei" userId="S::wei.wei06@sap.com::8e0ec0de-9405-4d53-b68d-f16574d40fbb" providerId="AD" clId="Web-{3B3410D5-CE82-CC58-6A0A-75380C64E305}"/>
    <pc:docChg chg="modSld">
      <pc:chgData name="Wei, Wei" userId="S::wei.wei06@sap.com::8e0ec0de-9405-4d53-b68d-f16574d40fbb" providerId="AD" clId="Web-{3B3410D5-CE82-CC58-6A0A-75380C64E305}" dt="2019-03-08T15:45:43.631" v="285"/>
      <pc:docMkLst>
        <pc:docMk/>
      </pc:docMkLst>
      <pc:sldChg chg="modSp addCm modCm">
        <pc:chgData name="Wei, Wei" userId="S::wei.wei06@sap.com::8e0ec0de-9405-4d53-b68d-f16574d40fbb" providerId="AD" clId="Web-{3B3410D5-CE82-CC58-6A0A-75380C64E305}" dt="2019-03-08T15:45:43.631" v="285"/>
        <pc:sldMkLst>
          <pc:docMk/>
          <pc:sldMk cId="3321835105" sldId="453"/>
        </pc:sldMkLst>
        <pc:spChg chg="mod">
          <ac:chgData name="Wei, Wei" userId="S::wei.wei06@sap.com::8e0ec0de-9405-4d53-b68d-f16574d40fbb" providerId="AD" clId="Web-{3B3410D5-CE82-CC58-6A0A-75380C64E305}" dt="2019-03-08T15:45:30.568" v="284" actId="20577"/>
          <ac:spMkLst>
            <pc:docMk/>
            <pc:sldMk cId="3321835105" sldId="453"/>
            <ac:spMk id="66" creationId="{AA51B90A-52F4-4DD0-985A-AD0C246F511C}"/>
          </ac:spMkLst>
        </pc:spChg>
      </pc:sldChg>
    </pc:docChg>
  </pc:docChgLst>
  <pc:docChgLst>
    <pc:chgData name="Upadhyay, Deepali (external - Project)" userId="S::deepali.upadhyay@sap.com::261d1c7d-06e1-48c3-ba08-46fc721561b9" providerId="AD" clId="Web-{F49D655F-2204-4994-85D7-525DD1A352D3}"/>
    <pc:docChg chg="modSld">
      <pc:chgData name="Upadhyay, Deepali (external - Project)" userId="S::deepali.upadhyay@sap.com::261d1c7d-06e1-48c3-ba08-46fc721561b9" providerId="AD" clId="Web-{F49D655F-2204-4994-85D7-525DD1A352D3}" dt="2019-03-20T14:34:43.921" v="7"/>
      <pc:docMkLst>
        <pc:docMk/>
      </pc:docMkLst>
      <pc:sldChg chg="mod setBg">
        <pc:chgData name="Upadhyay, Deepali (external - Project)" userId="S::deepali.upadhyay@sap.com::261d1c7d-06e1-48c3-ba08-46fc721561b9" providerId="AD" clId="Web-{F49D655F-2204-4994-85D7-525DD1A352D3}" dt="2019-03-20T14:34:43.921" v="7"/>
        <pc:sldMkLst>
          <pc:docMk/>
          <pc:sldMk cId="2621075307" sldId="449"/>
        </pc:sldMkLst>
      </pc:sldChg>
      <pc:sldChg chg="addSp">
        <pc:chgData name="Upadhyay, Deepali (external - Project)" userId="S::deepali.upadhyay@sap.com::261d1c7d-06e1-48c3-ba08-46fc721561b9" providerId="AD" clId="Web-{F49D655F-2204-4994-85D7-525DD1A352D3}" dt="2019-03-20T14:24:34.274" v="5"/>
        <pc:sldMkLst>
          <pc:docMk/>
          <pc:sldMk cId="1136880606" sldId="451"/>
        </pc:sldMkLst>
        <pc:picChg chg="add">
          <ac:chgData name="Upadhyay, Deepali (external - Project)" userId="S::deepali.upadhyay@sap.com::261d1c7d-06e1-48c3-ba08-46fc721561b9" providerId="AD" clId="Web-{F49D655F-2204-4994-85D7-525DD1A352D3}" dt="2019-03-20T14:24:34.274" v="5"/>
          <ac:picMkLst>
            <pc:docMk/>
            <pc:sldMk cId="1136880606" sldId="451"/>
            <ac:picMk id="3" creationId="{8F38EF99-F19D-40F8-B994-548CC4464472}"/>
          </ac:picMkLst>
        </pc:picChg>
      </pc:sldChg>
      <pc:sldChg chg="addSp modSp">
        <pc:chgData name="Upadhyay, Deepali (external - Project)" userId="S::deepali.upadhyay@sap.com::261d1c7d-06e1-48c3-ba08-46fc721561b9" providerId="AD" clId="Web-{F49D655F-2204-4994-85D7-525DD1A352D3}" dt="2019-03-20T14:24:18.509" v="4" actId="1076"/>
        <pc:sldMkLst>
          <pc:docMk/>
          <pc:sldMk cId="3321835105" sldId="453"/>
        </pc:sldMkLst>
        <pc:picChg chg="add mod">
          <ac:chgData name="Upadhyay, Deepali (external - Project)" userId="S::deepali.upadhyay@sap.com::261d1c7d-06e1-48c3-ba08-46fc721561b9" providerId="AD" clId="Web-{F49D655F-2204-4994-85D7-525DD1A352D3}" dt="2019-03-20T14:24:18.509" v="4" actId="1076"/>
          <ac:picMkLst>
            <pc:docMk/>
            <pc:sldMk cId="3321835105" sldId="453"/>
            <ac:picMk id="50" creationId="{77F32AF2-FF4F-406D-9ACE-3C8099A5A342}"/>
          </ac:picMkLst>
        </pc:picChg>
      </pc:sldChg>
    </pc:docChg>
  </pc:docChgLst>
  <pc:docChgLst>
    <pc:chgData name="Upadhyay, Deepali (external - Project)" userId="S::deepali.upadhyay@sap.com::261d1c7d-06e1-48c3-ba08-46fc721561b9" providerId="AD" clId="Web-{77695868-66A6-F5E6-0D96-EFD260DFCA2C}"/>
    <pc:docChg chg="modSld">
      <pc:chgData name="Upadhyay, Deepali (external - Project)" userId="S::deepali.upadhyay@sap.com::261d1c7d-06e1-48c3-ba08-46fc721561b9" providerId="AD" clId="Web-{77695868-66A6-F5E6-0D96-EFD260DFCA2C}" dt="2019-03-20T14:33:00.057" v="5" actId="1076"/>
      <pc:docMkLst>
        <pc:docMk/>
      </pc:docMkLst>
      <pc:sldChg chg="addSp modSp">
        <pc:chgData name="Upadhyay, Deepali (external - Project)" userId="S::deepali.upadhyay@sap.com::261d1c7d-06e1-48c3-ba08-46fc721561b9" providerId="AD" clId="Web-{77695868-66A6-F5E6-0D96-EFD260DFCA2C}" dt="2019-03-20T14:33:00.057" v="5" actId="1076"/>
        <pc:sldMkLst>
          <pc:docMk/>
          <pc:sldMk cId="2621075307" sldId="449"/>
        </pc:sldMkLst>
        <pc:picChg chg="add mod">
          <ac:chgData name="Upadhyay, Deepali (external - Project)" userId="S::deepali.upadhyay@sap.com::261d1c7d-06e1-48c3-ba08-46fc721561b9" providerId="AD" clId="Web-{77695868-66A6-F5E6-0D96-EFD260DFCA2C}" dt="2019-03-20T14:33:00.057" v="5" actId="1076"/>
          <ac:picMkLst>
            <pc:docMk/>
            <pc:sldMk cId="2621075307" sldId="449"/>
            <ac:picMk id="11" creationId="{44A3ACA2-C86B-4925-8925-69B11548990F}"/>
          </ac:picMkLst>
        </pc:picChg>
      </pc:sldChg>
    </pc:docChg>
  </pc:docChgLst>
  <pc:docChgLst>
    <pc:chgData name="Wei, Wei" userId="S::wei.wei06@sap.com::8e0ec0de-9405-4d53-b68d-f16574d40fbb" providerId="AD" clId="Web-{7CBBA1AE-0AD1-C7AB-9B81-4C7EE2B2945E}"/>
    <pc:docChg chg="addSld modSld">
      <pc:chgData name="Wei, Wei" userId="S::wei.wei06@sap.com::8e0ec0de-9405-4d53-b68d-f16574d40fbb" providerId="AD" clId="Web-{7CBBA1AE-0AD1-C7AB-9B81-4C7EE2B2945E}" dt="2019-02-22T09:51:38.972" v="1488" actId="20577"/>
      <pc:docMkLst>
        <pc:docMk/>
      </pc:docMkLst>
      <pc:sldChg chg="addSp delSp modSp add replId">
        <pc:chgData name="Wei, Wei" userId="S::wei.wei06@sap.com::8e0ec0de-9405-4d53-b68d-f16574d40fbb" providerId="AD" clId="Web-{7CBBA1AE-0AD1-C7AB-9B81-4C7EE2B2945E}" dt="2019-02-22T09:51:24.972" v="1486" actId="20577"/>
        <pc:sldMkLst>
          <pc:docMk/>
          <pc:sldMk cId="2621075307" sldId="449"/>
        </pc:sldMkLst>
        <pc:spChg chg="add mod">
          <ac:chgData name="Wei, Wei" userId="S::wei.wei06@sap.com::8e0ec0de-9405-4d53-b68d-f16574d40fbb" providerId="AD" clId="Web-{7CBBA1AE-0AD1-C7AB-9B81-4C7EE2B2945E}" dt="2019-02-22T09:51:24.972" v="1486" actId="20577"/>
          <ac:spMkLst>
            <pc:docMk/>
            <pc:sldMk cId="2621075307" sldId="449"/>
            <ac:spMk id="3" creationId="{3FD89844-461C-4738-8FE5-8A8A8C36EA17}"/>
          </ac:spMkLst>
        </pc:spChg>
        <pc:spChg chg="mod">
          <ac:chgData name="Wei, Wei" userId="S::wei.wei06@sap.com::8e0ec0de-9405-4d53-b68d-f16574d40fbb" providerId="AD" clId="Web-{7CBBA1AE-0AD1-C7AB-9B81-4C7EE2B2945E}" dt="2019-02-22T09:30:21.922" v="75" actId="20577"/>
          <ac:spMkLst>
            <pc:docMk/>
            <pc:sldMk cId="2621075307" sldId="449"/>
            <ac:spMk id="22" creationId="{1A15397A-139C-4968-9BFE-F6ABEB7110D5}"/>
          </ac:spMkLst>
        </pc:spChg>
        <pc:spChg chg="mod">
          <ac:chgData name="Wei, Wei" userId="S::wei.wei06@sap.com::8e0ec0de-9405-4d53-b68d-f16574d40fbb" providerId="AD" clId="Web-{7CBBA1AE-0AD1-C7AB-9B81-4C7EE2B2945E}" dt="2019-02-22T09:30:38.391" v="100" actId="20577"/>
          <ac:spMkLst>
            <pc:docMk/>
            <pc:sldMk cId="2621075307" sldId="449"/>
            <ac:spMk id="23" creationId="{5BD93C33-1D0D-495A-B7BA-8F4B366EE2C2}"/>
          </ac:spMkLst>
        </pc:spChg>
        <pc:spChg chg="mod">
          <ac:chgData name="Wei, Wei" userId="S::wei.wei06@sap.com::8e0ec0de-9405-4d53-b68d-f16574d40fbb" providerId="AD" clId="Web-{7CBBA1AE-0AD1-C7AB-9B81-4C7EE2B2945E}" dt="2019-02-22T09:30:30.391" v="95" actId="20577"/>
          <ac:spMkLst>
            <pc:docMk/>
            <pc:sldMk cId="2621075307" sldId="449"/>
            <ac:spMk id="25" creationId="{0F7FA3AC-2E37-4C1D-899F-43D804EDA184}"/>
          </ac:spMkLst>
        </pc:spChg>
        <pc:spChg chg="del mod">
          <ac:chgData name="Wei, Wei" userId="S::wei.wei06@sap.com::8e0ec0de-9405-4d53-b68d-f16574d40fbb" providerId="AD" clId="Web-{7CBBA1AE-0AD1-C7AB-9B81-4C7EE2B2945E}" dt="2019-02-22T09:35:37.329" v="291"/>
          <ac:spMkLst>
            <pc:docMk/>
            <pc:sldMk cId="2621075307" sldId="449"/>
            <ac:spMk id="29" creationId="{D73A8975-3DCC-4575-8F53-262678546C3C}"/>
          </ac:spMkLst>
        </pc:spChg>
        <pc:spChg chg="del">
          <ac:chgData name="Wei, Wei" userId="S::wei.wei06@sap.com::8e0ec0de-9405-4d53-b68d-f16574d40fbb" providerId="AD" clId="Web-{7CBBA1AE-0AD1-C7AB-9B81-4C7EE2B2945E}" dt="2019-02-22T09:34:30.860" v="264"/>
          <ac:spMkLst>
            <pc:docMk/>
            <pc:sldMk cId="2621075307" sldId="449"/>
            <ac:spMk id="62" creationId="{DAA182E2-547D-411B-AAC5-CAB4958277E6}"/>
          </ac:spMkLst>
        </pc:spChg>
        <pc:spChg chg="del mod">
          <ac:chgData name="Wei, Wei" userId="S::wei.wei06@sap.com::8e0ec0de-9405-4d53-b68d-f16574d40fbb" providerId="AD" clId="Web-{7CBBA1AE-0AD1-C7AB-9B81-4C7EE2B2945E}" dt="2019-02-22T09:34:35.548" v="268"/>
          <ac:spMkLst>
            <pc:docMk/>
            <pc:sldMk cId="2621075307" sldId="449"/>
            <ac:spMk id="63" creationId="{CF351720-F6A1-4BC5-8318-0AA53C2DAA15}"/>
          </ac:spMkLst>
        </pc:spChg>
        <pc:spChg chg="mod">
          <ac:chgData name="Wei, Wei" userId="S::wei.wei06@sap.com::8e0ec0de-9405-4d53-b68d-f16574d40fbb" providerId="AD" clId="Web-{7CBBA1AE-0AD1-C7AB-9B81-4C7EE2B2945E}" dt="2019-02-22T09:37:50.704" v="680" actId="20577"/>
          <ac:spMkLst>
            <pc:docMk/>
            <pc:sldMk cId="2621075307" sldId="449"/>
            <ac:spMk id="75" creationId="{7549D3A6-61C2-4EC2-A2EE-A17119E59DB6}"/>
          </ac:spMkLst>
        </pc:spChg>
        <pc:spChg chg="del">
          <ac:chgData name="Wei, Wei" userId="S::wei.wei06@sap.com::8e0ec0de-9405-4d53-b68d-f16574d40fbb" providerId="AD" clId="Web-{7CBBA1AE-0AD1-C7AB-9B81-4C7EE2B2945E}" dt="2019-02-22T09:34:29.485" v="263"/>
          <ac:spMkLst>
            <pc:docMk/>
            <pc:sldMk cId="2621075307" sldId="449"/>
            <ac:spMk id="93" creationId="{7DDD61F8-8C77-4517-89BF-7F4333625A5A}"/>
          </ac:spMkLst>
        </pc:spChg>
      </pc:sldChg>
      <pc:sldChg chg="add replId">
        <pc:chgData name="Wei, Wei" userId="S::wei.wei06@sap.com::8e0ec0de-9405-4d53-b68d-f16574d40fbb" providerId="AD" clId="Web-{7CBBA1AE-0AD1-C7AB-9B81-4C7EE2B2945E}" dt="2019-02-22T09:30:13.125" v="69"/>
        <pc:sldMkLst>
          <pc:docMk/>
          <pc:sldMk cId="602851386" sldId="450"/>
        </pc:sldMkLst>
      </pc:sldChg>
    </pc:docChg>
  </pc:docChgLst>
  <pc:docChgLst>
    <pc:chgData name="Wei, Wei" userId="S::wei.wei06@sap.com::8e0ec0de-9405-4d53-b68d-f16574d40fbb" providerId="AD" clId="Web-{385FEC3A-D02B-CF81-9357-23725191D01E}"/>
    <pc:docChg chg="modSld">
      <pc:chgData name="Wei, Wei" userId="S::wei.wei06@sap.com::8e0ec0de-9405-4d53-b68d-f16574d40fbb" providerId="AD" clId="Web-{385FEC3A-D02B-CF81-9357-23725191D01E}" dt="2019-02-25T15:16:28.793" v="150" actId="20577"/>
      <pc:docMkLst>
        <pc:docMk/>
      </pc:docMkLst>
      <pc:sldChg chg="modSp">
        <pc:chgData name="Wei, Wei" userId="S::wei.wei06@sap.com::8e0ec0de-9405-4d53-b68d-f16574d40fbb" providerId="AD" clId="Web-{385FEC3A-D02B-CF81-9357-23725191D01E}" dt="2019-02-25T15:16:28.793" v="149" actId="20577"/>
        <pc:sldMkLst>
          <pc:docMk/>
          <pc:sldMk cId="2621075307" sldId="449"/>
        </pc:sldMkLst>
        <pc:spChg chg="mod">
          <ac:chgData name="Wei, Wei" userId="S::wei.wei06@sap.com::8e0ec0de-9405-4d53-b68d-f16574d40fbb" providerId="AD" clId="Web-{385FEC3A-D02B-CF81-9357-23725191D01E}" dt="2019-02-25T15:16:28.793" v="149" actId="20577"/>
          <ac:spMkLst>
            <pc:docMk/>
            <pc:sldMk cId="2621075307" sldId="449"/>
            <ac:spMk id="75" creationId="{7549D3A6-61C2-4EC2-A2EE-A17119E59DB6}"/>
          </ac:spMkLst>
        </pc:spChg>
      </pc:sldChg>
      <pc:sldChg chg="modSp">
        <pc:chgData name="Wei, Wei" userId="S::wei.wei06@sap.com::8e0ec0de-9405-4d53-b68d-f16574d40fbb" providerId="AD" clId="Web-{385FEC3A-D02B-CF81-9357-23725191D01E}" dt="2019-02-25T15:15:07.356" v="139" actId="20577"/>
        <pc:sldMkLst>
          <pc:docMk/>
          <pc:sldMk cId="602851386" sldId="450"/>
        </pc:sldMkLst>
        <pc:spChg chg="mod">
          <ac:chgData name="Wei, Wei" userId="S::wei.wei06@sap.com::8e0ec0de-9405-4d53-b68d-f16574d40fbb" providerId="AD" clId="Web-{385FEC3A-D02B-CF81-9357-23725191D01E}" dt="2019-02-25T15:15:07.356" v="139" actId="20577"/>
          <ac:spMkLst>
            <pc:docMk/>
            <pc:sldMk cId="602851386" sldId="450"/>
            <ac:spMk id="75" creationId="{7549D3A6-61C2-4EC2-A2EE-A17119E59DB6}"/>
          </ac:spMkLst>
        </pc:spChg>
      </pc:sldChg>
    </pc:docChg>
  </pc:docChgLst>
  <pc:docChgLst>
    <pc:chgData name="Wei, Wei" userId="S::wei.wei06@sap.com::8e0ec0de-9405-4d53-b68d-f16574d40fbb" providerId="AD" clId="Web-{66A8137B-4BF2-71A0-576C-CD561751D352}"/>
    <pc:docChg chg="modSld">
      <pc:chgData name="Wei, Wei" userId="S::wei.wei06@sap.com::8e0ec0de-9405-4d53-b68d-f16574d40fbb" providerId="AD" clId="Web-{66A8137B-4BF2-71A0-576C-CD561751D352}" dt="2019-03-11T09:13:14.720" v="207"/>
      <pc:docMkLst>
        <pc:docMk/>
      </pc:docMkLst>
      <pc:sldChg chg="modSp addCm delCm">
        <pc:chgData name="Wei, Wei" userId="S::wei.wei06@sap.com::8e0ec0de-9405-4d53-b68d-f16574d40fbb" providerId="AD" clId="Web-{66A8137B-4BF2-71A0-576C-CD561751D352}" dt="2019-03-11T09:13:14.720" v="207"/>
        <pc:sldMkLst>
          <pc:docMk/>
          <pc:sldMk cId="3321835105" sldId="453"/>
        </pc:sldMkLst>
        <pc:spChg chg="mod">
          <ac:chgData name="Wei, Wei" userId="S::wei.wei06@sap.com::8e0ec0de-9405-4d53-b68d-f16574d40fbb" providerId="AD" clId="Web-{66A8137B-4BF2-71A0-576C-CD561751D352}" dt="2019-03-11T08:48:39.532" v="64" actId="20577"/>
          <ac:spMkLst>
            <pc:docMk/>
            <pc:sldMk cId="3321835105" sldId="453"/>
            <ac:spMk id="6" creationId="{52329796-B39E-4358-8733-91A156F575C0}"/>
          </ac:spMkLst>
        </pc:spChg>
        <pc:spChg chg="mod">
          <ac:chgData name="Wei, Wei" userId="S::wei.wei06@sap.com::8e0ec0de-9405-4d53-b68d-f16574d40fbb" providerId="AD" clId="Web-{66A8137B-4BF2-71A0-576C-CD561751D352}" dt="2019-03-11T09:12:24.736" v="205" actId="20577"/>
          <ac:spMkLst>
            <pc:docMk/>
            <pc:sldMk cId="3321835105" sldId="453"/>
            <ac:spMk id="66" creationId="{AA51B90A-52F4-4DD0-985A-AD0C246F511C}"/>
          </ac:spMkLst>
        </pc:spChg>
      </pc:sldChg>
    </pc:docChg>
  </pc:docChgLst>
  <pc:docChgLst>
    <pc:chgData name="Castelo Branco, Christian" userId="S::christian.castelo.branco@sap.com::88daf4af-514b-4733-918b-67310094bcf3" providerId="AD" clId="Web-{A34256B9-7AE0-E23B-93C6-893D53DE4086}"/>
    <pc:docChg chg="modSld">
      <pc:chgData name="Castelo Branco, Christian" userId="S::christian.castelo.branco@sap.com::88daf4af-514b-4733-918b-67310094bcf3" providerId="AD" clId="Web-{A34256B9-7AE0-E23B-93C6-893D53DE4086}" dt="2019-02-22T13:16:34.718" v="15" actId="20577"/>
      <pc:docMkLst>
        <pc:docMk/>
      </pc:docMkLst>
      <pc:sldChg chg="modSp">
        <pc:chgData name="Castelo Branco, Christian" userId="S::christian.castelo.branco@sap.com::88daf4af-514b-4733-918b-67310094bcf3" providerId="AD" clId="Web-{A34256B9-7AE0-E23B-93C6-893D53DE4086}" dt="2019-02-22T13:16:34.718" v="14" actId="20577"/>
        <pc:sldMkLst>
          <pc:docMk/>
          <pc:sldMk cId="2621075307" sldId="449"/>
        </pc:sldMkLst>
        <pc:spChg chg="mod">
          <ac:chgData name="Castelo Branco, Christian" userId="S::christian.castelo.branco@sap.com::88daf4af-514b-4733-918b-67310094bcf3" providerId="AD" clId="Web-{A34256B9-7AE0-E23B-93C6-893D53DE4086}" dt="2019-02-22T13:16:34.718" v="14" actId="20577"/>
          <ac:spMkLst>
            <pc:docMk/>
            <pc:sldMk cId="2621075307" sldId="449"/>
            <ac:spMk id="3" creationId="{3FD89844-461C-4738-8FE5-8A8A8C36EA17}"/>
          </ac:spMkLst>
        </pc:spChg>
      </pc:sldChg>
    </pc:docChg>
  </pc:docChgLst>
  <pc:docChgLst>
    <pc:chgData name="Castelo Branco, Christian" userId="S::christian.castelo.branco@sap.com::88daf4af-514b-4733-918b-67310094bcf3" providerId="AD" clId="Web-{F80094A9-6CE7-F0D3-6D27-DE19ED07D617}"/>
    <pc:docChg chg="modSld">
      <pc:chgData name="Castelo Branco, Christian" userId="S::christian.castelo.branco@sap.com::88daf4af-514b-4733-918b-67310094bcf3" providerId="AD" clId="Web-{F80094A9-6CE7-F0D3-6D27-DE19ED07D617}" dt="2019-03-01T15:07:08.324" v="277" actId="20577"/>
      <pc:docMkLst>
        <pc:docMk/>
      </pc:docMkLst>
      <pc:sldChg chg="modSp">
        <pc:chgData name="Castelo Branco, Christian" userId="S::christian.castelo.branco@sap.com::88daf4af-514b-4733-918b-67310094bcf3" providerId="AD" clId="Web-{F80094A9-6CE7-F0D3-6D27-DE19ED07D617}" dt="2019-03-01T15:06:16.325" v="261" actId="20577"/>
        <pc:sldMkLst>
          <pc:docMk/>
          <pc:sldMk cId="2621075307" sldId="449"/>
        </pc:sldMkLst>
        <pc:spChg chg="mod">
          <ac:chgData name="Castelo Branco, Christian" userId="S::christian.castelo.branco@sap.com::88daf4af-514b-4733-918b-67310094bcf3" providerId="AD" clId="Web-{F80094A9-6CE7-F0D3-6D27-DE19ED07D617}" dt="2019-03-01T14:53:52.083" v="180" actId="20577"/>
          <ac:spMkLst>
            <pc:docMk/>
            <pc:sldMk cId="2621075307" sldId="449"/>
            <ac:spMk id="3" creationId="{3FD89844-461C-4738-8FE5-8A8A8C36EA17}"/>
          </ac:spMkLst>
        </pc:spChg>
        <pc:spChg chg="mod">
          <ac:chgData name="Castelo Branco, Christian" userId="S::christian.castelo.branco@sap.com::88daf4af-514b-4733-918b-67310094bcf3" providerId="AD" clId="Web-{F80094A9-6CE7-F0D3-6D27-DE19ED07D617}" dt="2019-03-01T15:06:16.325" v="261" actId="20577"/>
          <ac:spMkLst>
            <pc:docMk/>
            <pc:sldMk cId="2621075307" sldId="449"/>
            <ac:spMk id="22" creationId="{1A15397A-139C-4968-9BFE-F6ABEB7110D5}"/>
          </ac:spMkLst>
        </pc:spChg>
      </pc:sldChg>
      <pc:sldChg chg="modSp">
        <pc:chgData name="Castelo Branco, Christian" userId="S::christian.castelo.branco@sap.com::88daf4af-514b-4733-918b-67310094bcf3" providerId="AD" clId="Web-{F80094A9-6CE7-F0D3-6D27-DE19ED07D617}" dt="2019-03-01T14:53:30.693" v="124" actId="20577"/>
        <pc:sldMkLst>
          <pc:docMk/>
          <pc:sldMk cId="602851386" sldId="450"/>
        </pc:sldMkLst>
        <pc:spChg chg="mod">
          <ac:chgData name="Castelo Branco, Christian" userId="S::christian.castelo.branco@sap.com::88daf4af-514b-4733-918b-67310094bcf3" providerId="AD" clId="Web-{F80094A9-6CE7-F0D3-6D27-DE19ED07D617}" dt="2019-03-01T14:53:30.693" v="124" actId="20577"/>
          <ac:spMkLst>
            <pc:docMk/>
            <pc:sldMk cId="602851386" sldId="450"/>
            <ac:spMk id="57" creationId="{1F3C345B-F436-4CC0-A741-D4044F7E9D44}"/>
          </ac:spMkLst>
        </pc:spChg>
      </pc:sldChg>
      <pc:sldChg chg="modSp">
        <pc:chgData name="Castelo Branco, Christian" userId="S::christian.castelo.branco@sap.com::88daf4af-514b-4733-918b-67310094bcf3" providerId="AD" clId="Web-{F80094A9-6CE7-F0D3-6D27-DE19ED07D617}" dt="2019-03-01T15:06:50.512" v="275" actId="20577"/>
        <pc:sldMkLst>
          <pc:docMk/>
          <pc:sldMk cId="1283380159" sldId="452"/>
        </pc:sldMkLst>
        <pc:spChg chg="mod">
          <ac:chgData name="Castelo Branco, Christian" userId="S::christian.castelo.branco@sap.com::88daf4af-514b-4733-918b-67310094bcf3" providerId="AD" clId="Web-{F80094A9-6CE7-F0D3-6D27-DE19ED07D617}" dt="2019-03-01T15:06:50.512" v="275" actId="20577"/>
          <ac:spMkLst>
            <pc:docMk/>
            <pc:sldMk cId="1283380159" sldId="452"/>
            <ac:spMk id="6" creationId="{52329796-B39E-4358-8733-91A156F575C0}"/>
          </ac:spMkLst>
        </pc:spChg>
        <pc:spChg chg="mod">
          <ac:chgData name="Castelo Branco, Christian" userId="S::christian.castelo.branco@sap.com::88daf4af-514b-4733-918b-67310094bcf3" providerId="AD" clId="Web-{F80094A9-6CE7-F0D3-6D27-DE19ED07D617}" dt="2019-03-01T15:06:41.762" v="272" actId="20577"/>
          <ac:spMkLst>
            <pc:docMk/>
            <pc:sldMk cId="1283380159" sldId="452"/>
            <ac:spMk id="22" creationId="{1A15397A-139C-4968-9BFE-F6ABEB7110D5}"/>
          </ac:spMkLst>
        </pc:spChg>
        <pc:spChg chg="mod">
          <ac:chgData name="Castelo Branco, Christian" userId="S::christian.castelo.branco@sap.com::88daf4af-514b-4733-918b-67310094bcf3" providerId="AD" clId="Web-{F80094A9-6CE7-F0D3-6D27-DE19ED07D617}" dt="2019-03-01T14:55:08.941" v="212" actId="20577"/>
          <ac:spMkLst>
            <pc:docMk/>
            <pc:sldMk cId="1283380159" sldId="452"/>
            <ac:spMk id="75" creationId="{7549D3A6-61C2-4EC2-A2EE-A17119E59DB6}"/>
          </ac:spMkLst>
        </pc:spChg>
      </pc:sldChg>
    </pc:docChg>
  </pc:docChgLst>
  <pc:docChgLst>
    <pc:chgData name="Deepali Upadhyay" userId="261d1c7d-06e1-48c3-ba08-46fc721561b9" providerId="ADAL" clId="{FB15B24F-B0B1-4108-B1FA-2F83EE21F8D8}"/>
    <pc:docChg chg="undo modSld sldOrd">
      <pc:chgData name="Deepali Upadhyay" userId="261d1c7d-06e1-48c3-ba08-46fc721561b9" providerId="ADAL" clId="{FB15B24F-B0B1-4108-B1FA-2F83EE21F8D8}" dt="2019-03-20T13:46:26.808" v="82" actId="404"/>
      <pc:docMkLst>
        <pc:docMk/>
      </pc:docMkLst>
      <pc:sldChg chg="modSp">
        <pc:chgData name="Deepali Upadhyay" userId="261d1c7d-06e1-48c3-ba08-46fc721561b9" providerId="ADAL" clId="{FB15B24F-B0B1-4108-B1FA-2F83EE21F8D8}" dt="2019-03-20T13:46:26.808" v="82" actId="404"/>
        <pc:sldMkLst>
          <pc:docMk/>
          <pc:sldMk cId="3262179408" sldId="447"/>
        </pc:sldMkLst>
        <pc:spChg chg="mod">
          <ac:chgData name="Deepali Upadhyay" userId="261d1c7d-06e1-48c3-ba08-46fc721561b9" providerId="ADAL" clId="{FB15B24F-B0B1-4108-B1FA-2F83EE21F8D8}" dt="2019-03-20T13:46:26.808" v="82" actId="404"/>
          <ac:spMkLst>
            <pc:docMk/>
            <pc:sldMk cId="3262179408" sldId="447"/>
            <ac:spMk id="8" creationId="{00000000-0000-0000-0000-000000000000}"/>
          </ac:spMkLst>
        </pc:spChg>
      </pc:sldChg>
      <pc:sldChg chg="modSp">
        <pc:chgData name="Deepali Upadhyay" userId="261d1c7d-06e1-48c3-ba08-46fc721561b9" providerId="ADAL" clId="{FB15B24F-B0B1-4108-B1FA-2F83EE21F8D8}" dt="2019-03-20T13:40:27.451" v="0" actId="113"/>
        <pc:sldMkLst>
          <pc:docMk/>
          <pc:sldMk cId="2621075307" sldId="449"/>
        </pc:sldMkLst>
        <pc:spChg chg="mod">
          <ac:chgData name="Deepali Upadhyay" userId="261d1c7d-06e1-48c3-ba08-46fc721561b9" providerId="ADAL" clId="{FB15B24F-B0B1-4108-B1FA-2F83EE21F8D8}" dt="2019-03-20T13:40:27.451" v="0" actId="113"/>
          <ac:spMkLst>
            <pc:docMk/>
            <pc:sldMk cId="2621075307" sldId="449"/>
            <ac:spMk id="22" creationId="{1A15397A-139C-4968-9BFE-F6ABEB7110D5}"/>
          </ac:spMkLst>
        </pc:spChg>
      </pc:sldChg>
      <pc:sldChg chg="modSp">
        <pc:chgData name="Deepali Upadhyay" userId="261d1c7d-06e1-48c3-ba08-46fc721561b9" providerId="ADAL" clId="{FB15B24F-B0B1-4108-B1FA-2F83EE21F8D8}" dt="2019-03-20T13:40:49.764" v="2" actId="113"/>
        <pc:sldMkLst>
          <pc:docMk/>
          <pc:sldMk cId="602851386" sldId="450"/>
        </pc:sldMkLst>
        <pc:spChg chg="mod">
          <ac:chgData name="Deepali Upadhyay" userId="261d1c7d-06e1-48c3-ba08-46fc721561b9" providerId="ADAL" clId="{FB15B24F-B0B1-4108-B1FA-2F83EE21F8D8}" dt="2019-03-20T13:40:49.764" v="2" actId="113"/>
          <ac:spMkLst>
            <pc:docMk/>
            <pc:sldMk cId="602851386" sldId="450"/>
            <ac:spMk id="22" creationId="{1A15397A-139C-4968-9BFE-F6ABEB7110D5}"/>
          </ac:spMkLst>
        </pc:spChg>
      </pc:sldChg>
      <pc:sldChg chg="modSp">
        <pc:chgData name="Deepali Upadhyay" userId="261d1c7d-06e1-48c3-ba08-46fc721561b9" providerId="ADAL" clId="{FB15B24F-B0B1-4108-B1FA-2F83EE21F8D8}" dt="2019-03-20T13:43:05.459" v="35" actId="113"/>
        <pc:sldMkLst>
          <pc:docMk/>
          <pc:sldMk cId="1136880606" sldId="451"/>
        </pc:sldMkLst>
        <pc:spChg chg="mod">
          <ac:chgData name="Deepali Upadhyay" userId="261d1c7d-06e1-48c3-ba08-46fc721561b9" providerId="ADAL" clId="{FB15B24F-B0B1-4108-B1FA-2F83EE21F8D8}" dt="2019-03-20T13:43:05.459" v="35" actId="113"/>
          <ac:spMkLst>
            <pc:docMk/>
            <pc:sldMk cId="1136880606" sldId="451"/>
            <ac:spMk id="22" creationId="{1A15397A-139C-4968-9BFE-F6ABEB7110D5}"/>
          </ac:spMkLst>
        </pc:spChg>
      </pc:sldChg>
      <pc:sldChg chg="modSp ord">
        <pc:chgData name="Deepali Upadhyay" userId="261d1c7d-06e1-48c3-ba08-46fc721561b9" providerId="ADAL" clId="{FB15B24F-B0B1-4108-B1FA-2F83EE21F8D8}" dt="2019-03-20T13:44:44.209" v="40" actId="1036"/>
        <pc:sldMkLst>
          <pc:docMk/>
          <pc:sldMk cId="1283380159" sldId="452"/>
        </pc:sldMkLst>
        <pc:spChg chg="mod">
          <ac:chgData name="Deepali Upadhyay" userId="261d1c7d-06e1-48c3-ba08-46fc721561b9" providerId="ADAL" clId="{FB15B24F-B0B1-4108-B1FA-2F83EE21F8D8}" dt="2019-03-20T13:42:07.873" v="33" actId="20577"/>
          <ac:spMkLst>
            <pc:docMk/>
            <pc:sldMk cId="1283380159" sldId="452"/>
            <ac:spMk id="22" creationId="{1A15397A-139C-4968-9BFE-F6ABEB7110D5}"/>
          </ac:spMkLst>
        </pc:spChg>
        <pc:spChg chg="mod">
          <ac:chgData name="Deepali Upadhyay" userId="261d1c7d-06e1-48c3-ba08-46fc721561b9" providerId="ADAL" clId="{FB15B24F-B0B1-4108-B1FA-2F83EE21F8D8}" dt="2019-03-20T13:44:44.209" v="40" actId="1036"/>
          <ac:spMkLst>
            <pc:docMk/>
            <pc:sldMk cId="1283380159" sldId="452"/>
            <ac:spMk id="23" creationId="{5BD93C33-1D0D-495A-B7BA-8F4B366EE2C2}"/>
          </ac:spMkLst>
        </pc:spChg>
      </pc:sldChg>
      <pc:sldChg chg="modSp">
        <pc:chgData name="Deepali Upadhyay" userId="261d1c7d-06e1-48c3-ba08-46fc721561b9" providerId="ADAL" clId="{FB15B24F-B0B1-4108-B1FA-2F83EE21F8D8}" dt="2019-03-20T13:44:53.998" v="41" actId="1035"/>
        <pc:sldMkLst>
          <pc:docMk/>
          <pc:sldMk cId="3321835105" sldId="453"/>
        </pc:sldMkLst>
        <pc:spChg chg="mod">
          <ac:chgData name="Deepali Upadhyay" userId="261d1c7d-06e1-48c3-ba08-46fc721561b9" providerId="ADAL" clId="{FB15B24F-B0B1-4108-B1FA-2F83EE21F8D8}" dt="2019-03-20T13:40:43.644" v="1" actId="113"/>
          <ac:spMkLst>
            <pc:docMk/>
            <pc:sldMk cId="3321835105" sldId="453"/>
            <ac:spMk id="22" creationId="{1A15397A-139C-4968-9BFE-F6ABEB7110D5}"/>
          </ac:spMkLst>
        </pc:spChg>
        <pc:spChg chg="mod">
          <ac:chgData name="Deepali Upadhyay" userId="261d1c7d-06e1-48c3-ba08-46fc721561b9" providerId="ADAL" clId="{FB15B24F-B0B1-4108-B1FA-2F83EE21F8D8}" dt="2019-03-20T13:44:53.998" v="41" actId="1035"/>
          <ac:spMkLst>
            <pc:docMk/>
            <pc:sldMk cId="3321835105" sldId="453"/>
            <ac:spMk id="56" creationId="{CC6014B8-A178-4DE5-88CA-182F76ECA790}"/>
          </ac:spMkLst>
        </pc:spChg>
      </pc:sldChg>
    </pc:docChg>
  </pc:docChgLst>
  <pc:docChgLst>
    <pc:chgData name="Wei, Wei" userId="S::wei.wei06@sap.com::8e0ec0de-9405-4d53-b68d-f16574d40fbb" providerId="AD" clId="Web-{F74D7011-4944-DAD2-F3CE-3849599F0C68}"/>
    <pc:docChg chg="addSld modSld sldOrd">
      <pc:chgData name="Wei, Wei" userId="S::wei.wei06@sap.com::8e0ec0de-9405-4d53-b68d-f16574d40fbb" providerId="AD" clId="Web-{F74D7011-4944-DAD2-F3CE-3849599F0C68}" dt="2019-03-01T13:27:31.203" v="1087" actId="20577"/>
      <pc:docMkLst>
        <pc:docMk/>
      </pc:docMkLst>
      <pc:sldChg chg="addSp delSp modSp add ord replId modCm">
        <pc:chgData name="Wei, Wei" userId="S::wei.wei06@sap.com::8e0ec0de-9405-4d53-b68d-f16574d40fbb" providerId="AD" clId="Web-{F74D7011-4944-DAD2-F3CE-3849599F0C68}" dt="2019-03-01T13:27:31.203" v="1086" actId="20577"/>
        <pc:sldMkLst>
          <pc:docMk/>
          <pc:sldMk cId="1283380159" sldId="452"/>
        </pc:sldMkLst>
        <pc:spChg chg="add mod">
          <ac:chgData name="Wei, Wei" userId="S::wei.wei06@sap.com::8e0ec0de-9405-4d53-b68d-f16574d40fbb" providerId="AD" clId="Web-{F74D7011-4944-DAD2-F3CE-3849599F0C68}" dt="2019-03-01T13:27:31.203" v="1086" actId="20577"/>
          <ac:spMkLst>
            <pc:docMk/>
            <pc:sldMk cId="1283380159" sldId="452"/>
            <ac:spMk id="6" creationId="{52329796-B39E-4358-8733-91A156F575C0}"/>
          </ac:spMkLst>
        </pc:spChg>
        <pc:spChg chg="del">
          <ac:chgData name="Wei, Wei" userId="S::wei.wei06@sap.com::8e0ec0de-9405-4d53-b68d-f16574d40fbb" providerId="AD" clId="Web-{F74D7011-4944-DAD2-F3CE-3849599F0C68}" dt="2019-03-01T13:16:59.168" v="1"/>
          <ac:spMkLst>
            <pc:docMk/>
            <pc:sldMk cId="1283380159" sldId="452"/>
            <ac:spMk id="29" creationId="{D73A8975-3DCC-4575-8F53-262678546C3C}"/>
          </ac:spMkLst>
        </pc:spChg>
        <pc:spChg chg="del">
          <ac:chgData name="Wei, Wei" userId="S::wei.wei06@sap.com::8e0ec0de-9405-4d53-b68d-f16574d40fbb" providerId="AD" clId="Web-{F74D7011-4944-DAD2-F3CE-3849599F0C68}" dt="2019-03-01T13:17:30.262" v="5"/>
          <ac:spMkLst>
            <pc:docMk/>
            <pc:sldMk cId="1283380159" sldId="452"/>
            <ac:spMk id="62" creationId="{DAA182E2-547D-411B-AAC5-CAB4958277E6}"/>
          </ac:spMkLst>
        </pc:spChg>
        <pc:spChg chg="del">
          <ac:chgData name="Wei, Wei" userId="S::wei.wei06@sap.com::8e0ec0de-9405-4d53-b68d-f16574d40fbb" providerId="AD" clId="Web-{F74D7011-4944-DAD2-F3CE-3849599F0C68}" dt="2019-03-01T13:17:40.715" v="6"/>
          <ac:spMkLst>
            <pc:docMk/>
            <pc:sldMk cId="1283380159" sldId="452"/>
            <ac:spMk id="63" creationId="{CF351720-F6A1-4BC5-8318-0AA53C2DAA15}"/>
          </ac:spMkLst>
        </pc:spChg>
        <pc:spChg chg="del">
          <ac:chgData name="Wei, Wei" userId="S::wei.wei06@sap.com::8e0ec0de-9405-4d53-b68d-f16574d40fbb" providerId="AD" clId="Web-{F74D7011-4944-DAD2-F3CE-3849599F0C68}" dt="2019-03-01T13:17:29.105" v="4"/>
          <ac:spMkLst>
            <pc:docMk/>
            <pc:sldMk cId="1283380159" sldId="452"/>
            <ac:spMk id="93" creationId="{7DDD61F8-8C77-4517-89BF-7F4333625A5A}"/>
          </ac:spMkLst>
        </pc:spChg>
      </pc:sldChg>
    </pc:docChg>
  </pc:docChgLst>
  <pc:docChgLst>
    <pc:chgData name="Ley, Susanne" userId="S::susanne.ley@sap.com::b592323d-d4db-42f1-843c-c950659363eb" providerId="AD" clId="Web-{F664A0D7-7E86-DB03-683D-DCB44E908925}"/>
    <pc:docChg chg="modSld">
      <pc:chgData name="Ley, Susanne" userId="S::susanne.ley@sap.com::b592323d-d4db-42f1-843c-c950659363eb" providerId="AD" clId="Web-{F664A0D7-7E86-DB03-683D-DCB44E908925}" dt="2019-02-25T15:49:14.020" v="51" actId="20577"/>
      <pc:docMkLst>
        <pc:docMk/>
      </pc:docMkLst>
      <pc:sldChg chg="addSp modSp">
        <pc:chgData name="Ley, Susanne" userId="S::susanne.ley@sap.com::b592323d-d4db-42f1-843c-c950659363eb" providerId="AD" clId="Web-{F664A0D7-7E86-DB03-683D-DCB44E908925}" dt="2019-02-25T15:49:14.020" v="50" actId="20577"/>
        <pc:sldMkLst>
          <pc:docMk/>
          <pc:sldMk cId="2621075307" sldId="449"/>
        </pc:sldMkLst>
        <pc:spChg chg="mod">
          <ac:chgData name="Ley, Susanne" userId="S::susanne.ley@sap.com::b592323d-d4db-42f1-843c-c950659363eb" providerId="AD" clId="Web-{F664A0D7-7E86-DB03-683D-DCB44E908925}" dt="2019-02-25T15:49:14.020" v="50" actId="20577"/>
          <ac:spMkLst>
            <pc:docMk/>
            <pc:sldMk cId="2621075307" sldId="449"/>
            <ac:spMk id="3" creationId="{3FD89844-461C-4738-8FE5-8A8A8C36EA17}"/>
          </ac:spMkLst>
        </pc:spChg>
        <pc:spChg chg="add mod">
          <ac:chgData name="Ley, Susanne" userId="S::susanne.ley@sap.com::b592323d-d4db-42f1-843c-c950659363eb" providerId="AD" clId="Web-{F664A0D7-7E86-DB03-683D-DCB44E908925}" dt="2019-02-25T15:19:13.177" v="44" actId="20577"/>
          <ac:spMkLst>
            <pc:docMk/>
            <pc:sldMk cId="2621075307" sldId="449"/>
            <ac:spMk id="6" creationId="{4A37DC2D-4D78-4360-8B83-925C577D0102}"/>
          </ac:spMkLst>
        </pc:spChg>
        <pc:spChg chg="mod">
          <ac:chgData name="Ley, Susanne" userId="S::susanne.ley@sap.com::b592323d-d4db-42f1-843c-c950659363eb" providerId="AD" clId="Web-{F664A0D7-7E86-DB03-683D-DCB44E908925}" dt="2019-02-25T15:17:59.646" v="26" actId="20577"/>
          <ac:spMkLst>
            <pc:docMk/>
            <pc:sldMk cId="2621075307" sldId="449"/>
            <ac:spMk id="23" creationId="{5BD93C33-1D0D-495A-B7BA-8F4B366EE2C2}"/>
          </ac:spMkLst>
        </pc:spChg>
      </pc:sldChg>
    </pc:docChg>
  </pc:docChgLst>
  <pc:docChgLst>
    <pc:chgData name="Wei, Wei" userId="S::wei.wei06@sap.com::8e0ec0de-9405-4d53-b68d-f16574d40fbb" providerId="AD" clId="Web-{6E02790C-79F1-70E4-004A-4E40911BBB3B}"/>
    <pc:docChg chg="modSld">
      <pc:chgData name="Wei, Wei" userId="S::wei.wei06@sap.com::8e0ec0de-9405-4d53-b68d-f16574d40fbb" providerId="AD" clId="Web-{6E02790C-79F1-70E4-004A-4E40911BBB3B}" dt="2019-02-22T11:07:14.892" v="825" actId="20577"/>
      <pc:docMkLst>
        <pc:docMk/>
      </pc:docMkLst>
      <pc:sldChg chg="addSp delSp modSp">
        <pc:chgData name="Wei, Wei" userId="S::wei.wei06@sap.com::8e0ec0de-9405-4d53-b68d-f16574d40fbb" providerId="AD" clId="Web-{6E02790C-79F1-70E4-004A-4E40911BBB3B}" dt="2019-02-22T10:58:33.036" v="600" actId="20577"/>
        <pc:sldMkLst>
          <pc:docMk/>
          <pc:sldMk cId="2621075307" sldId="449"/>
        </pc:sldMkLst>
        <pc:spChg chg="mod">
          <ac:chgData name="Wei, Wei" userId="S::wei.wei06@sap.com::8e0ec0de-9405-4d53-b68d-f16574d40fbb" providerId="AD" clId="Web-{6E02790C-79F1-70E4-004A-4E40911BBB3B}" dt="2019-02-22T10:58:33.036" v="600" actId="20577"/>
          <ac:spMkLst>
            <pc:docMk/>
            <pc:sldMk cId="2621075307" sldId="449"/>
            <ac:spMk id="75" creationId="{7549D3A6-61C2-4EC2-A2EE-A17119E59DB6}"/>
          </ac:spMkLst>
        </pc:spChg>
        <pc:picChg chg="add">
          <ac:chgData name="Wei, Wei" userId="S::wei.wei06@sap.com::8e0ec0de-9405-4d53-b68d-f16574d40fbb" providerId="AD" clId="Web-{6E02790C-79F1-70E4-004A-4E40911BBB3B}" dt="2019-02-22T10:58:20.895" v="590"/>
          <ac:picMkLst>
            <pc:docMk/>
            <pc:sldMk cId="2621075307" sldId="449"/>
            <ac:picMk id="5" creationId="{D15CEAC8-F05B-40EB-B8BD-66364077F1A8}"/>
          </ac:picMkLst>
        </pc:picChg>
        <pc:picChg chg="del">
          <ac:chgData name="Wei, Wei" userId="S::wei.wei06@sap.com::8e0ec0de-9405-4d53-b68d-f16574d40fbb" providerId="AD" clId="Web-{6E02790C-79F1-70E4-004A-4E40911BBB3B}" dt="2019-02-22T10:58:19.848" v="589"/>
          <ac:picMkLst>
            <pc:docMk/>
            <pc:sldMk cId="2621075307" sldId="449"/>
            <ac:picMk id="106" creationId="{16D3741E-9674-4F69-B92E-84206CF0A9DE}"/>
          </ac:picMkLst>
        </pc:picChg>
      </pc:sldChg>
      <pc:sldChg chg="modSp">
        <pc:chgData name="Wei, Wei" userId="S::wei.wei06@sap.com::8e0ec0de-9405-4d53-b68d-f16574d40fbb" providerId="AD" clId="Web-{6E02790C-79F1-70E4-004A-4E40911BBB3B}" dt="2019-02-22T11:07:13.736" v="823" actId="20577"/>
        <pc:sldMkLst>
          <pc:docMk/>
          <pc:sldMk cId="602851386" sldId="450"/>
        </pc:sldMkLst>
        <pc:spChg chg="mod">
          <ac:chgData name="Wei, Wei" userId="S::wei.wei06@sap.com::8e0ec0de-9405-4d53-b68d-f16574d40fbb" providerId="AD" clId="Web-{6E02790C-79F1-70E4-004A-4E40911BBB3B}" dt="2019-02-22T10:54:40.718" v="2" actId="20577"/>
          <ac:spMkLst>
            <pc:docMk/>
            <pc:sldMk cId="602851386" sldId="450"/>
            <ac:spMk id="57" creationId="{1F3C345B-F436-4CC0-A741-D4044F7E9D44}"/>
          </ac:spMkLst>
        </pc:spChg>
        <pc:spChg chg="mod">
          <ac:chgData name="Wei, Wei" userId="S::wei.wei06@sap.com::8e0ec0de-9405-4d53-b68d-f16574d40fbb" providerId="AD" clId="Web-{6E02790C-79F1-70E4-004A-4E40911BBB3B}" dt="2019-02-22T11:07:13.736" v="823" actId="20577"/>
          <ac:spMkLst>
            <pc:docMk/>
            <pc:sldMk cId="602851386" sldId="450"/>
            <ac:spMk id="75" creationId="{7549D3A6-61C2-4EC2-A2EE-A17119E59DB6}"/>
          </ac:spMkLst>
        </pc:spChg>
        <pc:picChg chg="mod">
          <ac:chgData name="Wei, Wei" userId="S::wei.wei06@sap.com::8e0ec0de-9405-4d53-b68d-f16574d40fbb" providerId="AD" clId="Web-{6E02790C-79F1-70E4-004A-4E40911BBB3B}" dt="2019-02-22T10:57:37.534" v="196" actId="1076"/>
          <ac:picMkLst>
            <pc:docMk/>
            <pc:sldMk cId="602851386" sldId="450"/>
            <ac:picMk id="106" creationId="{16D3741E-9674-4F69-B92E-84206CF0A9DE}"/>
          </ac:picMkLst>
        </pc:picChg>
      </pc:sldChg>
    </pc:docChg>
  </pc:docChgLst>
  <pc:docChgLst>
    <pc:chgData name="Christine Heitmann" userId="52b5a14e-ab93-458f-a923-8964176b5f2f" providerId="ADAL" clId="{714D5C32-7997-4A3A-8CF7-B7DD9425ED79}"/>
    <pc:docChg chg="modSld">
      <pc:chgData name="Christine Heitmann" userId="52b5a14e-ab93-458f-a923-8964176b5f2f" providerId="ADAL" clId="{714D5C32-7997-4A3A-8CF7-B7DD9425ED79}" dt="2019-03-20T14:39:57.759" v="34"/>
      <pc:docMkLst>
        <pc:docMk/>
      </pc:docMkLst>
      <pc:sldChg chg="modSp">
        <pc:chgData name="Christine Heitmann" userId="52b5a14e-ab93-458f-a923-8964176b5f2f" providerId="ADAL" clId="{714D5C32-7997-4A3A-8CF7-B7DD9425ED79}" dt="2019-03-20T14:39:50.407" v="32" actId="1037"/>
        <pc:sldMkLst>
          <pc:docMk/>
          <pc:sldMk cId="2621075307" sldId="449"/>
        </pc:sldMkLst>
        <pc:picChg chg="mod">
          <ac:chgData name="Christine Heitmann" userId="52b5a14e-ab93-458f-a923-8964176b5f2f" providerId="ADAL" clId="{714D5C32-7997-4A3A-8CF7-B7DD9425ED79}" dt="2019-03-20T14:39:50.407" v="32" actId="1037"/>
          <ac:picMkLst>
            <pc:docMk/>
            <pc:sldMk cId="2621075307" sldId="449"/>
            <ac:picMk id="11" creationId="{44A3ACA2-C86B-4925-8925-69B11548990F}"/>
          </ac:picMkLst>
        </pc:picChg>
      </pc:sldChg>
      <pc:sldChg chg="addSp">
        <pc:chgData name="Christine Heitmann" userId="52b5a14e-ab93-458f-a923-8964176b5f2f" providerId="ADAL" clId="{714D5C32-7997-4A3A-8CF7-B7DD9425ED79}" dt="2019-03-20T14:39:53.906" v="33"/>
        <pc:sldMkLst>
          <pc:docMk/>
          <pc:sldMk cId="602851386" sldId="450"/>
        </pc:sldMkLst>
        <pc:picChg chg="add">
          <ac:chgData name="Christine Heitmann" userId="52b5a14e-ab93-458f-a923-8964176b5f2f" providerId="ADAL" clId="{714D5C32-7997-4A3A-8CF7-B7DD9425ED79}" dt="2019-03-20T14:39:53.906" v="33"/>
          <ac:picMkLst>
            <pc:docMk/>
            <pc:sldMk cId="602851386" sldId="450"/>
            <ac:picMk id="58" creationId="{06FD80CC-E31E-4703-ACC6-53147082A49D}"/>
          </ac:picMkLst>
        </pc:picChg>
      </pc:sldChg>
      <pc:sldChg chg="addSp">
        <pc:chgData name="Christine Heitmann" userId="52b5a14e-ab93-458f-a923-8964176b5f2f" providerId="ADAL" clId="{714D5C32-7997-4A3A-8CF7-B7DD9425ED79}" dt="2019-03-20T14:39:57.759" v="34"/>
        <pc:sldMkLst>
          <pc:docMk/>
          <pc:sldMk cId="1283380159" sldId="452"/>
        </pc:sldMkLst>
        <pc:picChg chg="add">
          <ac:chgData name="Christine Heitmann" userId="52b5a14e-ab93-458f-a923-8964176b5f2f" providerId="ADAL" clId="{714D5C32-7997-4A3A-8CF7-B7DD9425ED79}" dt="2019-03-20T14:39:57.759" v="34"/>
          <ac:picMkLst>
            <pc:docMk/>
            <pc:sldMk cId="1283380159" sldId="452"/>
            <ac:picMk id="56" creationId="{D0413E84-F15F-4004-BBE1-EC7914F87C33}"/>
          </ac:picMkLst>
        </pc:picChg>
      </pc:sldChg>
    </pc:docChg>
  </pc:docChgLst>
  <pc:docChgLst>
    <pc:chgData name="Wei, Wei" userId="S::wei.wei06@sap.com::8e0ec0de-9405-4d53-b68d-f16574d40fbb" providerId="AD" clId="Web-{CAFABFBD-48F2-AD8B-5938-05B473E0B544}"/>
    <pc:docChg chg="modSld">
      <pc:chgData name="Wei, Wei" userId="S::wei.wei06@sap.com::8e0ec0de-9405-4d53-b68d-f16574d40fbb" providerId="AD" clId="Web-{CAFABFBD-48F2-AD8B-5938-05B473E0B544}" dt="2019-03-01T14:15:51.717" v="9"/>
      <pc:docMkLst>
        <pc:docMk/>
      </pc:docMkLst>
      <pc:sldChg chg="addCm">
        <pc:chgData name="Wei, Wei" userId="S::wei.wei06@sap.com::8e0ec0de-9405-4d53-b68d-f16574d40fbb" providerId="AD" clId="Web-{CAFABFBD-48F2-AD8B-5938-05B473E0B544}" dt="2019-03-01T14:15:51.717" v="9"/>
        <pc:sldMkLst>
          <pc:docMk/>
          <pc:sldMk cId="2621075307" sldId="449"/>
        </pc:sldMkLst>
      </pc:sldChg>
      <pc:sldChg chg="modSp">
        <pc:chgData name="Wei, Wei" userId="S::wei.wei06@sap.com::8e0ec0de-9405-4d53-b68d-f16574d40fbb" providerId="AD" clId="Web-{CAFABFBD-48F2-AD8B-5938-05B473E0B544}" dt="2019-03-01T14:15:36.780" v="7" actId="20577"/>
        <pc:sldMkLst>
          <pc:docMk/>
          <pc:sldMk cId="1283380159" sldId="452"/>
        </pc:sldMkLst>
        <pc:spChg chg="mod">
          <ac:chgData name="Wei, Wei" userId="S::wei.wei06@sap.com::8e0ec0de-9405-4d53-b68d-f16574d40fbb" providerId="AD" clId="Web-{CAFABFBD-48F2-AD8B-5938-05B473E0B544}" dt="2019-03-01T13:50:47.679" v="0" actId="20577"/>
          <ac:spMkLst>
            <pc:docMk/>
            <pc:sldMk cId="1283380159" sldId="452"/>
            <ac:spMk id="6" creationId="{52329796-B39E-4358-8733-91A156F575C0}"/>
          </ac:spMkLst>
        </pc:spChg>
        <pc:spChg chg="mod">
          <ac:chgData name="Wei, Wei" userId="S::wei.wei06@sap.com::8e0ec0de-9405-4d53-b68d-f16574d40fbb" providerId="AD" clId="Web-{CAFABFBD-48F2-AD8B-5938-05B473E0B544}" dt="2019-03-01T14:15:36.780" v="7" actId="20577"/>
          <ac:spMkLst>
            <pc:docMk/>
            <pc:sldMk cId="1283380159" sldId="452"/>
            <ac:spMk id="22" creationId="{1A15397A-139C-4968-9BFE-F6ABEB7110D5}"/>
          </ac:spMkLst>
        </pc:spChg>
      </pc:sldChg>
    </pc:docChg>
  </pc:docChgLst>
  <pc:docChgLst>
    <pc:chgData name="Wei, Wei" userId="S::wei.wei06@sap.com::8e0ec0de-9405-4d53-b68d-f16574d40fbb" providerId="AD" clId="Web-{AF5E1FB1-192D-AA7C-A149-D7BD57D36321}"/>
    <pc:docChg chg="modSld">
      <pc:chgData name="Wei, Wei" userId="S::wei.wei06@sap.com::8e0ec0de-9405-4d53-b68d-f16574d40fbb" providerId="AD" clId="Web-{AF5E1FB1-192D-AA7C-A149-D7BD57D36321}" dt="2019-03-01T15:38:32.291" v="295" actId="20577"/>
      <pc:docMkLst>
        <pc:docMk/>
      </pc:docMkLst>
      <pc:sldChg chg="modSp delCm">
        <pc:chgData name="Wei, Wei" userId="S::wei.wei06@sap.com::8e0ec0de-9405-4d53-b68d-f16574d40fbb" providerId="AD" clId="Web-{AF5E1FB1-192D-AA7C-A149-D7BD57D36321}" dt="2019-03-01T15:36:32.602" v="236" actId="20577"/>
        <pc:sldMkLst>
          <pc:docMk/>
          <pc:sldMk cId="2621075307" sldId="449"/>
        </pc:sldMkLst>
        <pc:spChg chg="mod">
          <ac:chgData name="Wei, Wei" userId="S::wei.wei06@sap.com::8e0ec0de-9405-4d53-b68d-f16574d40fbb" providerId="AD" clId="Web-{AF5E1FB1-192D-AA7C-A149-D7BD57D36321}" dt="2019-03-01T15:36:32.602" v="236" actId="20577"/>
          <ac:spMkLst>
            <pc:docMk/>
            <pc:sldMk cId="2621075307" sldId="449"/>
            <ac:spMk id="3" creationId="{3FD89844-461C-4738-8FE5-8A8A8C36EA17}"/>
          </ac:spMkLst>
        </pc:spChg>
        <pc:spChg chg="mod">
          <ac:chgData name="Wei, Wei" userId="S::wei.wei06@sap.com::8e0ec0de-9405-4d53-b68d-f16574d40fbb" providerId="AD" clId="Web-{AF5E1FB1-192D-AA7C-A149-D7BD57D36321}" dt="2019-03-01T15:34:22.711" v="88" actId="20577"/>
          <ac:spMkLst>
            <pc:docMk/>
            <pc:sldMk cId="2621075307" sldId="449"/>
            <ac:spMk id="22" creationId="{1A15397A-139C-4968-9BFE-F6ABEB7110D5}"/>
          </ac:spMkLst>
        </pc:spChg>
        <pc:spChg chg="mod">
          <ac:chgData name="Wei, Wei" userId="S::wei.wei06@sap.com::8e0ec0de-9405-4d53-b68d-f16574d40fbb" providerId="AD" clId="Web-{AF5E1FB1-192D-AA7C-A149-D7BD57D36321}" dt="2019-03-01T15:35:10.274" v="168" actId="20577"/>
          <ac:spMkLst>
            <pc:docMk/>
            <pc:sldMk cId="2621075307" sldId="449"/>
            <ac:spMk id="75" creationId="{7549D3A6-61C2-4EC2-A2EE-A17119E59DB6}"/>
          </ac:spMkLst>
        </pc:spChg>
      </pc:sldChg>
      <pc:sldChg chg="modSp">
        <pc:chgData name="Wei, Wei" userId="S::wei.wei06@sap.com::8e0ec0de-9405-4d53-b68d-f16574d40fbb" providerId="AD" clId="Web-{AF5E1FB1-192D-AA7C-A149-D7BD57D36321}" dt="2019-03-01T15:38:32.291" v="294" actId="20577"/>
        <pc:sldMkLst>
          <pc:docMk/>
          <pc:sldMk cId="1283380159" sldId="452"/>
        </pc:sldMkLst>
        <pc:spChg chg="mod">
          <ac:chgData name="Wei, Wei" userId="S::wei.wei06@sap.com::8e0ec0de-9405-4d53-b68d-f16574d40fbb" providerId="AD" clId="Web-{AF5E1FB1-192D-AA7C-A149-D7BD57D36321}" dt="2019-03-01T15:38:32.291" v="294" actId="20577"/>
          <ac:spMkLst>
            <pc:docMk/>
            <pc:sldMk cId="1283380159" sldId="452"/>
            <ac:spMk id="6" creationId="{52329796-B39E-4358-8733-91A156F575C0}"/>
          </ac:spMkLst>
        </pc:spChg>
        <pc:spChg chg="mod">
          <ac:chgData name="Wei, Wei" userId="S::wei.wei06@sap.com::8e0ec0de-9405-4d53-b68d-f16574d40fbb" providerId="AD" clId="Web-{AF5E1FB1-192D-AA7C-A149-D7BD57D36321}" dt="2019-03-01T15:37:27.822" v="247" actId="20577"/>
          <ac:spMkLst>
            <pc:docMk/>
            <pc:sldMk cId="1283380159" sldId="452"/>
            <ac:spMk id="75" creationId="{7549D3A6-61C2-4EC2-A2EE-A17119E59DB6}"/>
          </ac:spMkLst>
        </pc:spChg>
      </pc:sldChg>
    </pc:docChg>
  </pc:docChgLst>
  <pc:docChgLst>
    <pc:chgData name="Ley, Susanne" userId="b592323d-d4db-42f1-843c-c950659363eb" providerId="ADAL" clId="{E3443559-372B-4A09-872D-63DCC8F62181}"/>
    <pc:docChg chg="custSel modSld">
      <pc:chgData name="Ley, Susanne" userId="b592323d-d4db-42f1-843c-c950659363eb" providerId="ADAL" clId="{E3443559-372B-4A09-872D-63DCC8F62181}" dt="2019-02-21T09:46:49.671" v="1504" actId="20577"/>
      <pc:docMkLst>
        <pc:docMk/>
      </pc:docMkLst>
    </pc:docChg>
  </pc:docChgLst>
  <pc:docChgLst>
    <pc:chgData name="Jule Mannack" userId="c4e91a45-032f-441c-a60a-ab7e46d3b2b1" providerId="ADAL" clId="{1CF0E386-6BBF-4865-8420-3A3A64BFA931}"/>
    <pc:docChg chg="undo redo custSel modSld sldOrd">
      <pc:chgData name="Jule Mannack" userId="c4e91a45-032f-441c-a60a-ab7e46d3b2b1" providerId="ADAL" clId="{1CF0E386-6BBF-4865-8420-3A3A64BFA931}" dt="2019-03-11T13:59:31.342" v="1761"/>
      <pc:docMkLst>
        <pc:docMk/>
      </pc:docMkLst>
      <pc:sldChg chg="addSp modSp">
        <pc:chgData name="Jule Mannack" userId="c4e91a45-032f-441c-a60a-ab7e46d3b2b1" providerId="ADAL" clId="{1CF0E386-6BBF-4865-8420-3A3A64BFA931}" dt="2019-03-08T14:31:27.431" v="1189" actId="20577"/>
        <pc:sldMkLst>
          <pc:docMk/>
          <pc:sldMk cId="3262179408" sldId="447"/>
        </pc:sldMkLst>
        <pc:spChg chg="add mod ord">
          <ac:chgData name="Jule Mannack" userId="c4e91a45-032f-441c-a60a-ab7e46d3b2b1" providerId="ADAL" clId="{1CF0E386-6BBF-4865-8420-3A3A64BFA931}" dt="2019-03-08T14:31:17.225" v="1151"/>
          <ac:spMkLst>
            <pc:docMk/>
            <pc:sldMk cId="3262179408" sldId="447"/>
            <ac:spMk id="2" creationId="{13D9F170-CA8D-42CD-9830-D9EBEFE9BB14}"/>
          </ac:spMkLst>
        </pc:spChg>
        <pc:spChg chg="mod ord">
          <ac:chgData name="Jule Mannack" userId="c4e91a45-032f-441c-a60a-ab7e46d3b2b1" providerId="ADAL" clId="{1CF0E386-6BBF-4865-8420-3A3A64BFA931}" dt="2019-03-08T14:31:20.461" v="1182" actId="20577"/>
          <ac:spMkLst>
            <pc:docMk/>
            <pc:sldMk cId="3262179408" sldId="447"/>
            <ac:spMk id="8" creationId="{00000000-0000-0000-0000-000000000000}"/>
          </ac:spMkLst>
        </pc:spChg>
        <pc:spChg chg="mod ord">
          <ac:chgData name="Jule Mannack" userId="c4e91a45-032f-441c-a60a-ab7e46d3b2b1" providerId="ADAL" clId="{1CF0E386-6BBF-4865-8420-3A3A64BFA931}" dt="2019-03-08T14:31:27.431" v="1189" actId="20577"/>
          <ac:spMkLst>
            <pc:docMk/>
            <pc:sldMk cId="3262179408" sldId="447"/>
            <ac:spMk id="35" creationId="{00000000-0000-0000-0000-000000000000}"/>
          </ac:spMkLst>
        </pc:spChg>
        <pc:graphicFrameChg chg="add mod ord">
          <ac:chgData name="Jule Mannack" userId="c4e91a45-032f-441c-a60a-ab7e46d3b2b1" providerId="ADAL" clId="{1CF0E386-6BBF-4865-8420-3A3A64BFA931}" dt="2019-03-08T14:31:20.989" v="1184"/>
          <ac:graphicFrameMkLst>
            <pc:docMk/>
            <pc:sldMk cId="3262179408" sldId="447"/>
            <ac:graphicFrameMk id="3" creationId="{75AE1740-FF19-45E2-82C5-A42FD6A7A283}"/>
          </ac:graphicFrameMkLst>
        </pc:graphicFrameChg>
        <pc:picChg chg="mod ord">
          <ac:chgData name="Jule Mannack" userId="c4e91a45-032f-441c-a60a-ab7e46d3b2b1" providerId="ADAL" clId="{1CF0E386-6BBF-4865-8420-3A3A64BFA931}" dt="2019-03-08T14:31:17.232" v="1157"/>
          <ac:picMkLst>
            <pc:docMk/>
            <pc:sldMk cId="3262179408" sldId="447"/>
            <ac:picMk id="10" creationId="{6ABE7D25-3386-4720-A94E-81D3F455A4C9}"/>
          </ac:picMkLst>
        </pc:picChg>
      </pc:sldChg>
      <pc:sldChg chg="addSp delSp modSp ord addCm modCm">
        <pc:chgData name="Jule Mannack" userId="c4e91a45-032f-441c-a60a-ab7e46d3b2b1" providerId="ADAL" clId="{1CF0E386-6BBF-4865-8420-3A3A64BFA931}" dt="2019-03-08T14:34:46.281" v="1200" actId="6549"/>
        <pc:sldMkLst>
          <pc:docMk/>
          <pc:sldMk cId="2621075307" sldId="449"/>
        </pc:sldMkLst>
        <pc:spChg chg="mod">
          <ac:chgData name="Jule Mannack" userId="c4e91a45-032f-441c-a60a-ab7e46d3b2b1" providerId="ADAL" clId="{1CF0E386-6BBF-4865-8420-3A3A64BFA931}" dt="2019-02-26T14:49:30.850" v="1030" actId="6549"/>
          <ac:spMkLst>
            <pc:docMk/>
            <pc:sldMk cId="2621075307" sldId="449"/>
            <ac:spMk id="2" creationId="{E953C733-5B66-41A2-AC5F-9C8B7DCDE77F}"/>
          </ac:spMkLst>
        </pc:spChg>
        <pc:spChg chg="mod">
          <ac:chgData name="Jule Mannack" userId="c4e91a45-032f-441c-a60a-ab7e46d3b2b1" providerId="ADAL" clId="{1CF0E386-6BBF-4865-8420-3A3A64BFA931}" dt="2019-03-08T14:34:46.281" v="1200" actId="6549"/>
          <ac:spMkLst>
            <pc:docMk/>
            <pc:sldMk cId="2621075307" sldId="449"/>
            <ac:spMk id="3" creationId="{3FD89844-461C-4738-8FE5-8A8A8C36EA17}"/>
          </ac:spMkLst>
        </pc:spChg>
        <pc:spChg chg="mod">
          <ac:chgData name="Jule Mannack" userId="c4e91a45-032f-441c-a60a-ab7e46d3b2b1" providerId="ADAL" clId="{1CF0E386-6BBF-4865-8420-3A3A64BFA931}" dt="2019-02-26T14:30:52.197" v="783" actId="207"/>
          <ac:spMkLst>
            <pc:docMk/>
            <pc:sldMk cId="2621075307" sldId="449"/>
            <ac:spMk id="6" creationId="{4A37DC2D-4D78-4360-8B83-925C577D0102}"/>
          </ac:spMkLst>
        </pc:spChg>
        <pc:spChg chg="mod">
          <ac:chgData name="Jule Mannack" userId="c4e91a45-032f-441c-a60a-ab7e46d3b2b1" providerId="ADAL" clId="{1CF0E386-6BBF-4865-8420-3A3A64BFA931}" dt="2019-02-26T14:31:45.705" v="853" actId="20577"/>
          <ac:spMkLst>
            <pc:docMk/>
            <pc:sldMk cId="2621075307" sldId="449"/>
            <ac:spMk id="22" creationId="{1A15397A-139C-4968-9BFE-F6ABEB7110D5}"/>
          </ac:spMkLst>
        </pc:spChg>
        <pc:spChg chg="mod">
          <ac:chgData name="Jule Mannack" userId="c4e91a45-032f-441c-a60a-ab7e46d3b2b1" providerId="ADAL" clId="{1CF0E386-6BBF-4865-8420-3A3A64BFA931}" dt="2019-02-26T14:49:32.158" v="1036" actId="20577"/>
          <ac:spMkLst>
            <pc:docMk/>
            <pc:sldMk cId="2621075307" sldId="449"/>
            <ac:spMk id="24" creationId="{00000000-0000-0000-0000-000000000000}"/>
          </ac:spMkLst>
        </pc:spChg>
        <pc:spChg chg="add mod">
          <ac:chgData name="Jule Mannack" userId="c4e91a45-032f-441c-a60a-ab7e46d3b2b1" providerId="ADAL" clId="{1CF0E386-6BBF-4865-8420-3A3A64BFA931}" dt="2019-02-26T09:50:54.964" v="297" actId="1038"/>
          <ac:spMkLst>
            <pc:docMk/>
            <pc:sldMk cId="2621075307" sldId="449"/>
            <ac:spMk id="57" creationId="{30C52509-110C-483D-8F25-2B86C5C2B764}"/>
          </ac:spMkLst>
        </pc:spChg>
        <pc:spChg chg="add mod">
          <ac:chgData name="Jule Mannack" userId="c4e91a45-032f-441c-a60a-ab7e46d3b2b1" providerId="ADAL" clId="{1CF0E386-6BBF-4865-8420-3A3A64BFA931}" dt="2019-02-26T09:53:00.951" v="317" actId="1035"/>
          <ac:spMkLst>
            <pc:docMk/>
            <pc:sldMk cId="2621075307" sldId="449"/>
            <ac:spMk id="58" creationId="{0D82FD11-5CEF-4E2F-B456-0A83383A78EC}"/>
          </ac:spMkLst>
        </pc:spChg>
        <pc:spChg chg="add mod">
          <ac:chgData name="Jule Mannack" userId="c4e91a45-032f-441c-a60a-ab7e46d3b2b1" providerId="ADAL" clId="{1CF0E386-6BBF-4865-8420-3A3A64BFA931}" dt="2019-02-26T09:53:11.658" v="318" actId="554"/>
          <ac:spMkLst>
            <pc:docMk/>
            <pc:sldMk cId="2621075307" sldId="449"/>
            <ac:spMk id="59" creationId="{058A0421-4C40-46B6-B6DD-7FC5A48A7616}"/>
          </ac:spMkLst>
        </pc:spChg>
        <pc:spChg chg="mod">
          <ac:chgData name="Jule Mannack" userId="c4e91a45-032f-441c-a60a-ab7e46d3b2b1" providerId="ADAL" clId="{1CF0E386-6BBF-4865-8420-3A3A64BFA931}" dt="2019-02-26T09:52:55.143" v="310" actId="554"/>
          <ac:spMkLst>
            <pc:docMk/>
            <pc:sldMk cId="2621075307" sldId="449"/>
            <ac:spMk id="61" creationId="{018FD273-6711-4532-A104-E84C889FB1C3}"/>
          </ac:spMkLst>
        </pc:spChg>
        <pc:spChg chg="add mod">
          <ac:chgData name="Jule Mannack" userId="c4e91a45-032f-441c-a60a-ab7e46d3b2b1" providerId="ADAL" clId="{1CF0E386-6BBF-4865-8420-3A3A64BFA931}" dt="2019-02-26T09:52:40.524" v="308" actId="14100"/>
          <ac:spMkLst>
            <pc:docMk/>
            <pc:sldMk cId="2621075307" sldId="449"/>
            <ac:spMk id="62" creationId="{D5AC1ADD-FE51-4FD9-B878-FD66BCAAA252}"/>
          </ac:spMkLst>
        </pc:spChg>
        <pc:spChg chg="add mod">
          <ac:chgData name="Jule Mannack" userId="c4e91a45-032f-441c-a60a-ab7e46d3b2b1" providerId="ADAL" clId="{1CF0E386-6BBF-4865-8420-3A3A64BFA931}" dt="2019-02-26T09:50:04.126" v="286" actId="20577"/>
          <ac:spMkLst>
            <pc:docMk/>
            <pc:sldMk cId="2621075307" sldId="449"/>
            <ac:spMk id="63" creationId="{66565807-F4B9-4175-AC73-B4C604A4A2FA}"/>
          </ac:spMkLst>
        </pc:spChg>
        <pc:spChg chg="add mod">
          <ac:chgData name="Jule Mannack" userId="c4e91a45-032f-441c-a60a-ab7e46d3b2b1" providerId="ADAL" clId="{1CF0E386-6BBF-4865-8420-3A3A64BFA931}" dt="2019-02-26T09:52:52.545" v="309" actId="555"/>
          <ac:spMkLst>
            <pc:docMk/>
            <pc:sldMk cId="2621075307" sldId="449"/>
            <ac:spMk id="64" creationId="{A74F0F30-716D-4314-BE84-A3868A503188}"/>
          </ac:spMkLst>
        </pc:spChg>
        <pc:spChg chg="add mod">
          <ac:chgData name="Jule Mannack" userId="c4e91a45-032f-441c-a60a-ab7e46d3b2b1" providerId="ADAL" clId="{1CF0E386-6BBF-4865-8420-3A3A64BFA931}" dt="2019-02-26T09:52:52.545" v="309" actId="555"/>
          <ac:spMkLst>
            <pc:docMk/>
            <pc:sldMk cId="2621075307" sldId="449"/>
            <ac:spMk id="65" creationId="{E7498D0D-D24F-48BE-AF4F-6FC09DC11B91}"/>
          </ac:spMkLst>
        </pc:spChg>
        <pc:spChg chg="add mod">
          <ac:chgData name="Jule Mannack" userId="c4e91a45-032f-441c-a60a-ab7e46d3b2b1" providerId="ADAL" clId="{1CF0E386-6BBF-4865-8420-3A3A64BFA931}" dt="2019-02-26T09:53:00.951" v="317" actId="1035"/>
          <ac:spMkLst>
            <pc:docMk/>
            <pc:sldMk cId="2621075307" sldId="449"/>
            <ac:spMk id="66" creationId="{000D80A9-A3A4-4218-9EC6-8AFFED913BD2}"/>
          </ac:spMkLst>
        </pc:spChg>
        <pc:spChg chg="mod">
          <ac:chgData name="Jule Mannack" userId="c4e91a45-032f-441c-a60a-ab7e46d3b2b1" providerId="ADAL" clId="{1CF0E386-6BBF-4865-8420-3A3A64BFA931}" dt="2019-02-26T09:52:55.143" v="310" actId="554"/>
          <ac:spMkLst>
            <pc:docMk/>
            <pc:sldMk cId="2621075307" sldId="449"/>
            <ac:spMk id="67" creationId="{019AE7F2-7398-4E40-91E0-644DC3105C81}"/>
          </ac:spMkLst>
        </pc:spChg>
        <pc:spChg chg="add del mod">
          <ac:chgData name="Jule Mannack" userId="c4e91a45-032f-441c-a60a-ab7e46d3b2b1" providerId="ADAL" clId="{1CF0E386-6BBF-4865-8420-3A3A64BFA931}" dt="2019-02-26T14:16:27.628" v="622" actId="478"/>
          <ac:spMkLst>
            <pc:docMk/>
            <pc:sldMk cId="2621075307" sldId="449"/>
            <ac:spMk id="68" creationId="{3FD46BDE-4D6E-4CBD-9EF3-014C2C9DDB7F}"/>
          </ac:spMkLst>
        </pc:spChg>
        <pc:spChg chg="del">
          <ac:chgData name="Jule Mannack" userId="c4e91a45-032f-441c-a60a-ab7e46d3b2b1" providerId="ADAL" clId="{1CF0E386-6BBF-4865-8420-3A3A64BFA931}" dt="2019-02-26T09:38:23.960" v="149" actId="478"/>
          <ac:spMkLst>
            <pc:docMk/>
            <pc:sldMk cId="2621075307" sldId="449"/>
            <ac:spMk id="76" creationId="{79D5F393-DFA6-4E32-B46E-9247902AE101}"/>
          </ac:spMkLst>
        </pc:spChg>
        <pc:spChg chg="del">
          <ac:chgData name="Jule Mannack" userId="c4e91a45-032f-441c-a60a-ab7e46d3b2b1" providerId="ADAL" clId="{1CF0E386-6BBF-4865-8420-3A3A64BFA931}" dt="2019-02-26T09:35:08.383" v="27" actId="478"/>
          <ac:spMkLst>
            <pc:docMk/>
            <pc:sldMk cId="2621075307" sldId="449"/>
            <ac:spMk id="80" creationId="{E603E5E0-7D0D-4467-983E-6757F51DC6CC}"/>
          </ac:spMkLst>
        </pc:spChg>
        <pc:spChg chg="del">
          <ac:chgData name="Jule Mannack" userId="c4e91a45-032f-441c-a60a-ab7e46d3b2b1" providerId="ADAL" clId="{1CF0E386-6BBF-4865-8420-3A3A64BFA931}" dt="2019-02-26T09:38:23.960" v="149" actId="478"/>
          <ac:spMkLst>
            <pc:docMk/>
            <pc:sldMk cId="2621075307" sldId="449"/>
            <ac:spMk id="81" creationId="{FCECC6E6-FA86-4C0D-877A-616982DEC4D6}"/>
          </ac:spMkLst>
        </pc:spChg>
        <pc:grpChg chg="mod">
          <ac:chgData name="Jule Mannack" userId="c4e91a45-032f-441c-a60a-ab7e46d3b2b1" providerId="ADAL" clId="{1CF0E386-6BBF-4865-8420-3A3A64BFA931}" dt="2019-02-26T09:37:22.137" v="132" actId="555"/>
          <ac:grpSpMkLst>
            <pc:docMk/>
            <pc:sldMk cId="2621075307" sldId="449"/>
            <ac:grpSpMk id="52" creationId="{2B4BF474-A607-44F4-9071-23F9BFCF17F4}"/>
          </ac:grpSpMkLst>
        </pc:grpChg>
        <pc:grpChg chg="mod">
          <ac:chgData name="Jule Mannack" userId="c4e91a45-032f-441c-a60a-ab7e46d3b2b1" providerId="ADAL" clId="{1CF0E386-6BBF-4865-8420-3A3A64BFA931}" dt="2019-02-26T09:37:22.137" v="132" actId="555"/>
          <ac:grpSpMkLst>
            <pc:docMk/>
            <pc:sldMk cId="2621075307" sldId="449"/>
            <ac:grpSpMk id="83" creationId="{055F843A-E40F-42FD-AAE4-9FF10C8BA25E}"/>
          </ac:grpSpMkLst>
        </pc:grpChg>
        <pc:graphicFrameChg chg="mod">
          <ac:chgData name="Jule Mannack" userId="c4e91a45-032f-441c-a60a-ab7e46d3b2b1" providerId="ADAL" clId="{1CF0E386-6BBF-4865-8420-3A3A64BFA931}" dt="2019-02-26T14:49:32.672" v="1038"/>
          <ac:graphicFrameMkLst>
            <pc:docMk/>
            <pc:sldMk cId="2621075307" sldId="449"/>
            <ac:graphicFrameMk id="4" creationId="{205B5FF9-9B22-4FFF-B41D-0F63D084F0F0}"/>
          </ac:graphicFrameMkLst>
        </pc:graphicFrameChg>
        <pc:picChg chg="add mod">
          <ac:chgData name="Jule Mannack" userId="c4e91a45-032f-441c-a60a-ab7e46d3b2b1" providerId="ADAL" clId="{1CF0E386-6BBF-4865-8420-3A3A64BFA931}" dt="2019-02-26T09:39:54.415" v="210" actId="1036"/>
          <ac:picMkLst>
            <pc:docMk/>
            <pc:sldMk cId="2621075307" sldId="449"/>
            <ac:picMk id="7" creationId="{F0B14FBA-82E8-4898-BFD4-8C172DA4D59B}"/>
          </ac:picMkLst>
        </pc:picChg>
        <pc:picChg chg="add mod">
          <ac:chgData name="Jule Mannack" userId="c4e91a45-032f-441c-a60a-ab7e46d3b2b1" providerId="ADAL" clId="{1CF0E386-6BBF-4865-8420-3A3A64BFA931}" dt="2019-02-26T09:51:27.932" v="299"/>
          <ac:picMkLst>
            <pc:docMk/>
            <pc:sldMk cId="2621075307" sldId="449"/>
            <ac:picMk id="8" creationId="{0937BB22-6D59-4778-BEC0-7385F2EBA825}"/>
          </ac:picMkLst>
        </pc:picChg>
        <pc:picChg chg="add mod">
          <ac:chgData name="Jule Mannack" userId="c4e91a45-032f-441c-a60a-ab7e46d3b2b1" providerId="ADAL" clId="{1CF0E386-6BBF-4865-8420-3A3A64BFA931}" dt="2019-02-26T09:53:00.951" v="317" actId="1035"/>
          <ac:picMkLst>
            <pc:docMk/>
            <pc:sldMk cId="2621075307" sldId="449"/>
            <ac:picMk id="9" creationId="{7C9CA091-C5BF-49B2-88D5-36EC319C4E2D}"/>
          </ac:picMkLst>
        </pc:picChg>
        <pc:picChg chg="add mod">
          <ac:chgData name="Jule Mannack" userId="c4e91a45-032f-441c-a60a-ab7e46d3b2b1" providerId="ADAL" clId="{1CF0E386-6BBF-4865-8420-3A3A64BFA931}" dt="2019-02-26T10:05:23.058" v="319"/>
          <ac:picMkLst>
            <pc:docMk/>
            <pc:sldMk cId="2621075307" sldId="449"/>
            <ac:picMk id="10" creationId="{659688A0-806F-4649-885F-CBB25320646F}"/>
          </ac:picMkLst>
        </pc:picChg>
        <pc:picChg chg="del">
          <ac:chgData name="Jule Mannack" userId="c4e91a45-032f-441c-a60a-ab7e46d3b2b1" providerId="ADAL" clId="{1CF0E386-6BBF-4865-8420-3A3A64BFA931}" dt="2019-02-26T09:35:06.359" v="26" actId="478"/>
          <ac:picMkLst>
            <pc:docMk/>
            <pc:sldMk cId="2621075307" sldId="449"/>
            <ac:picMk id="96" creationId="{ECE8CCA5-5D82-4131-A384-4116812566E4}"/>
          </ac:picMkLst>
        </pc:picChg>
        <pc:picChg chg="del">
          <ac:chgData name="Jule Mannack" userId="c4e91a45-032f-441c-a60a-ab7e46d3b2b1" providerId="ADAL" clId="{1CF0E386-6BBF-4865-8420-3A3A64BFA931}" dt="2019-02-26T09:38:21.804" v="148" actId="478"/>
          <ac:picMkLst>
            <pc:docMk/>
            <pc:sldMk cId="2621075307" sldId="449"/>
            <ac:picMk id="97" creationId="{A6DA9390-6892-43A6-A0D8-825FE1A5B626}"/>
          </ac:picMkLst>
        </pc:picChg>
      </pc:sldChg>
      <pc:sldChg chg="addSp delSp modSp ord modTransition addCm delCm modCm">
        <pc:chgData name="Jule Mannack" userId="c4e91a45-032f-441c-a60a-ab7e46d3b2b1" providerId="ADAL" clId="{1CF0E386-6BBF-4865-8420-3A3A64BFA931}" dt="2019-03-11T13:59:28.767" v="1760"/>
        <pc:sldMkLst>
          <pc:docMk/>
          <pc:sldMk cId="602851386" sldId="450"/>
        </pc:sldMkLst>
        <pc:spChg chg="mod">
          <ac:chgData name="Jule Mannack" userId="c4e91a45-032f-441c-a60a-ab7e46d3b2b1" providerId="ADAL" clId="{1CF0E386-6BBF-4865-8420-3A3A64BFA931}" dt="2019-02-26T14:49:39.347" v="1068" actId="6549"/>
          <ac:spMkLst>
            <pc:docMk/>
            <pc:sldMk cId="602851386" sldId="450"/>
            <ac:spMk id="2" creationId="{E953C733-5B66-41A2-AC5F-9C8B7DCDE77F}"/>
          </ac:spMkLst>
        </pc:spChg>
        <pc:spChg chg="mod">
          <ac:chgData name="Jule Mannack" userId="c4e91a45-032f-441c-a60a-ab7e46d3b2b1" providerId="ADAL" clId="{1CF0E386-6BBF-4865-8420-3A3A64BFA931}" dt="2019-02-26T14:49:38.782" v="1039"/>
          <ac:spMkLst>
            <pc:docMk/>
            <pc:sldMk cId="602851386" sldId="450"/>
            <ac:spMk id="24" creationId="{00000000-0000-0000-0000-000000000000}"/>
          </ac:spMkLst>
        </pc:spChg>
        <pc:spChg chg="mod">
          <ac:chgData name="Jule Mannack" userId="c4e91a45-032f-441c-a60a-ab7e46d3b2b1" providerId="ADAL" clId="{1CF0E386-6BBF-4865-8420-3A3A64BFA931}" dt="2019-02-26T14:42:00.170" v="902"/>
          <ac:spMkLst>
            <pc:docMk/>
            <pc:sldMk cId="602851386" sldId="450"/>
            <ac:spMk id="57" creationId="{1F3C345B-F436-4CC0-A741-D4044F7E9D44}"/>
          </ac:spMkLst>
        </pc:spChg>
        <pc:spChg chg="add del">
          <ac:chgData name="Jule Mannack" userId="c4e91a45-032f-441c-a60a-ab7e46d3b2b1" providerId="ADAL" clId="{1CF0E386-6BBF-4865-8420-3A3A64BFA931}" dt="2019-02-26T10:46:02.877" v="439" actId="478"/>
          <ac:spMkLst>
            <pc:docMk/>
            <pc:sldMk cId="602851386" sldId="450"/>
            <ac:spMk id="58" creationId="{A00FF64F-A98F-47A6-9017-8B1601FFE40A}"/>
          </ac:spMkLst>
        </pc:spChg>
        <pc:spChg chg="add del">
          <ac:chgData name="Jule Mannack" userId="c4e91a45-032f-441c-a60a-ab7e46d3b2b1" providerId="ADAL" clId="{1CF0E386-6BBF-4865-8420-3A3A64BFA931}" dt="2019-02-26T10:46:02.877" v="439" actId="478"/>
          <ac:spMkLst>
            <pc:docMk/>
            <pc:sldMk cId="602851386" sldId="450"/>
            <ac:spMk id="59" creationId="{BFB46A7A-A87F-4B2E-B212-3073E14D3937}"/>
          </ac:spMkLst>
        </pc:spChg>
        <pc:spChg chg="del">
          <ac:chgData name="Jule Mannack" userId="c4e91a45-032f-441c-a60a-ab7e46d3b2b1" providerId="ADAL" clId="{1CF0E386-6BBF-4865-8420-3A3A64BFA931}" dt="2019-02-26T10:44:54.981" v="395" actId="478"/>
          <ac:spMkLst>
            <pc:docMk/>
            <pc:sldMk cId="602851386" sldId="450"/>
            <ac:spMk id="61" creationId="{018FD273-6711-4532-A104-E84C889FB1C3}"/>
          </ac:spMkLst>
        </pc:spChg>
        <pc:spChg chg="add del">
          <ac:chgData name="Jule Mannack" userId="c4e91a45-032f-441c-a60a-ab7e46d3b2b1" providerId="ADAL" clId="{1CF0E386-6BBF-4865-8420-3A3A64BFA931}" dt="2019-02-26T10:46:02.877" v="439" actId="478"/>
          <ac:spMkLst>
            <pc:docMk/>
            <pc:sldMk cId="602851386" sldId="450"/>
            <ac:spMk id="63" creationId="{479286C1-7FC5-4E3B-BD92-792C97890BA0}"/>
          </ac:spMkLst>
        </pc:spChg>
        <pc:spChg chg="add del">
          <ac:chgData name="Jule Mannack" userId="c4e91a45-032f-441c-a60a-ab7e46d3b2b1" providerId="ADAL" clId="{1CF0E386-6BBF-4865-8420-3A3A64BFA931}" dt="2019-02-26T10:46:02.877" v="439" actId="478"/>
          <ac:spMkLst>
            <pc:docMk/>
            <pc:sldMk cId="602851386" sldId="450"/>
            <ac:spMk id="65" creationId="{5708B30C-E9D9-4D69-9CF3-8ED7C9767F88}"/>
          </ac:spMkLst>
        </pc:spChg>
        <pc:spChg chg="add del">
          <ac:chgData name="Jule Mannack" userId="c4e91a45-032f-441c-a60a-ab7e46d3b2b1" providerId="ADAL" clId="{1CF0E386-6BBF-4865-8420-3A3A64BFA931}" dt="2019-02-26T10:46:02.877" v="439" actId="478"/>
          <ac:spMkLst>
            <pc:docMk/>
            <pc:sldMk cId="602851386" sldId="450"/>
            <ac:spMk id="66" creationId="{B22BED59-E262-44B1-9819-67F335ADB931}"/>
          </ac:spMkLst>
        </pc:spChg>
        <pc:spChg chg="del">
          <ac:chgData name="Jule Mannack" userId="c4e91a45-032f-441c-a60a-ab7e46d3b2b1" providerId="ADAL" clId="{1CF0E386-6BBF-4865-8420-3A3A64BFA931}" dt="2019-02-26T10:44:53.331" v="394" actId="478"/>
          <ac:spMkLst>
            <pc:docMk/>
            <pc:sldMk cId="602851386" sldId="450"/>
            <ac:spMk id="67" creationId="{019AE7F2-7398-4E40-91E0-644DC3105C81}"/>
          </ac:spMkLst>
        </pc:spChg>
        <pc:spChg chg="add del">
          <ac:chgData name="Jule Mannack" userId="c4e91a45-032f-441c-a60a-ab7e46d3b2b1" providerId="ADAL" clId="{1CF0E386-6BBF-4865-8420-3A3A64BFA931}" dt="2019-02-26T10:46:02.877" v="439" actId="478"/>
          <ac:spMkLst>
            <pc:docMk/>
            <pc:sldMk cId="602851386" sldId="450"/>
            <ac:spMk id="68" creationId="{4D45CF69-E81B-4479-BEEE-555767997D8E}"/>
          </ac:spMkLst>
        </pc:spChg>
        <pc:spChg chg="add del">
          <ac:chgData name="Jule Mannack" userId="c4e91a45-032f-441c-a60a-ab7e46d3b2b1" providerId="ADAL" clId="{1CF0E386-6BBF-4865-8420-3A3A64BFA931}" dt="2019-02-26T10:46:02.877" v="439" actId="478"/>
          <ac:spMkLst>
            <pc:docMk/>
            <pc:sldMk cId="602851386" sldId="450"/>
            <ac:spMk id="69" creationId="{66462E21-CB66-420A-9E7C-24AA8C30DFF0}"/>
          </ac:spMkLst>
        </pc:spChg>
        <pc:spChg chg="add del">
          <ac:chgData name="Jule Mannack" userId="c4e91a45-032f-441c-a60a-ab7e46d3b2b1" providerId="ADAL" clId="{1CF0E386-6BBF-4865-8420-3A3A64BFA931}" dt="2019-02-26T10:46:02.877" v="439" actId="478"/>
          <ac:spMkLst>
            <pc:docMk/>
            <pc:sldMk cId="602851386" sldId="450"/>
            <ac:spMk id="72" creationId="{BFA2FA70-3B07-4607-BB43-CC73450190A2}"/>
          </ac:spMkLst>
        </pc:spChg>
        <pc:spChg chg="mod">
          <ac:chgData name="Jule Mannack" userId="c4e91a45-032f-441c-a60a-ab7e46d3b2b1" providerId="ADAL" clId="{1CF0E386-6BBF-4865-8420-3A3A64BFA931}" dt="2019-02-26T14:45:18.778" v="910" actId="1076"/>
          <ac:spMkLst>
            <pc:docMk/>
            <pc:sldMk cId="602851386" sldId="450"/>
            <ac:spMk id="75" creationId="{7549D3A6-61C2-4EC2-A2EE-A17119E59DB6}"/>
          </ac:spMkLst>
        </pc:spChg>
        <pc:spChg chg="del">
          <ac:chgData name="Jule Mannack" userId="c4e91a45-032f-441c-a60a-ab7e46d3b2b1" providerId="ADAL" clId="{1CF0E386-6BBF-4865-8420-3A3A64BFA931}" dt="2019-02-26T10:44:53.331" v="394" actId="478"/>
          <ac:spMkLst>
            <pc:docMk/>
            <pc:sldMk cId="602851386" sldId="450"/>
            <ac:spMk id="76" creationId="{79D5F393-DFA6-4E32-B46E-9247902AE101}"/>
          </ac:spMkLst>
        </pc:spChg>
        <pc:spChg chg="add del">
          <ac:chgData name="Jule Mannack" userId="c4e91a45-032f-441c-a60a-ab7e46d3b2b1" providerId="ADAL" clId="{1CF0E386-6BBF-4865-8420-3A3A64BFA931}" dt="2019-02-26T10:46:02.877" v="439" actId="478"/>
          <ac:spMkLst>
            <pc:docMk/>
            <pc:sldMk cId="602851386" sldId="450"/>
            <ac:spMk id="77" creationId="{40FABE85-F016-44D1-8C4A-026B25A2FC67}"/>
          </ac:spMkLst>
        </pc:spChg>
        <pc:spChg chg="add mod">
          <ac:chgData name="Jule Mannack" userId="c4e91a45-032f-441c-a60a-ab7e46d3b2b1" providerId="ADAL" clId="{1CF0E386-6BBF-4865-8420-3A3A64BFA931}" dt="2019-02-26T10:45:28.506" v="437" actId="14100"/>
          <ac:spMkLst>
            <pc:docMk/>
            <pc:sldMk cId="602851386" sldId="450"/>
            <ac:spMk id="78" creationId="{FBE3780C-AE35-4287-9670-9646B1852DFD}"/>
          </ac:spMkLst>
        </pc:spChg>
        <pc:spChg chg="add mod">
          <ac:chgData name="Jule Mannack" userId="c4e91a45-032f-441c-a60a-ab7e46d3b2b1" providerId="ADAL" clId="{1CF0E386-6BBF-4865-8420-3A3A64BFA931}" dt="2019-02-26T10:47:33.993" v="491" actId="20577"/>
          <ac:spMkLst>
            <pc:docMk/>
            <pc:sldMk cId="602851386" sldId="450"/>
            <ac:spMk id="79" creationId="{FAEF69D4-BC2C-4CFC-9B90-E465CC6794B9}"/>
          </ac:spMkLst>
        </pc:spChg>
        <pc:spChg chg="del">
          <ac:chgData name="Jule Mannack" userId="c4e91a45-032f-441c-a60a-ab7e46d3b2b1" providerId="ADAL" clId="{1CF0E386-6BBF-4865-8420-3A3A64BFA931}" dt="2019-02-26T10:44:53.331" v="394" actId="478"/>
          <ac:spMkLst>
            <pc:docMk/>
            <pc:sldMk cId="602851386" sldId="450"/>
            <ac:spMk id="80" creationId="{E603E5E0-7D0D-4467-983E-6757F51DC6CC}"/>
          </ac:spMkLst>
        </pc:spChg>
        <pc:spChg chg="del">
          <ac:chgData name="Jule Mannack" userId="c4e91a45-032f-441c-a60a-ab7e46d3b2b1" providerId="ADAL" clId="{1CF0E386-6BBF-4865-8420-3A3A64BFA931}" dt="2019-02-26T10:44:53.331" v="394" actId="478"/>
          <ac:spMkLst>
            <pc:docMk/>
            <pc:sldMk cId="602851386" sldId="450"/>
            <ac:spMk id="81" creationId="{FCECC6E6-FA86-4C0D-877A-616982DEC4D6}"/>
          </ac:spMkLst>
        </pc:spChg>
        <pc:spChg chg="add mod">
          <ac:chgData name="Jule Mannack" userId="c4e91a45-032f-441c-a60a-ab7e46d3b2b1" providerId="ADAL" clId="{1CF0E386-6BBF-4865-8420-3A3A64BFA931}" dt="2019-02-26T10:47:51.412" v="497" actId="552"/>
          <ac:spMkLst>
            <pc:docMk/>
            <pc:sldMk cId="602851386" sldId="450"/>
            <ac:spMk id="82" creationId="{F4DD9FD0-39CF-42AD-871F-7367523D2EF5}"/>
          </ac:spMkLst>
        </pc:spChg>
        <pc:spChg chg="add mod">
          <ac:chgData name="Jule Mannack" userId="c4e91a45-032f-441c-a60a-ab7e46d3b2b1" providerId="ADAL" clId="{1CF0E386-6BBF-4865-8420-3A3A64BFA931}" dt="2019-02-26T10:47:51.412" v="497" actId="552"/>
          <ac:spMkLst>
            <pc:docMk/>
            <pc:sldMk cId="602851386" sldId="450"/>
            <ac:spMk id="88" creationId="{4ACA78D3-6F6D-4778-80A7-AAF36C9A801F}"/>
          </ac:spMkLst>
        </pc:spChg>
        <pc:grpChg chg="mod">
          <ac:chgData name="Jule Mannack" userId="c4e91a45-032f-441c-a60a-ab7e46d3b2b1" providerId="ADAL" clId="{1CF0E386-6BBF-4865-8420-3A3A64BFA931}" dt="2019-02-26T10:44:59.253" v="397" actId="555"/>
          <ac:grpSpMkLst>
            <pc:docMk/>
            <pc:sldMk cId="602851386" sldId="450"/>
            <ac:grpSpMk id="52" creationId="{2B4BF474-A607-44F4-9071-23F9BFCF17F4}"/>
          </ac:grpSpMkLst>
        </pc:grpChg>
        <pc:grpChg chg="mod">
          <ac:chgData name="Jule Mannack" userId="c4e91a45-032f-441c-a60a-ab7e46d3b2b1" providerId="ADAL" clId="{1CF0E386-6BBF-4865-8420-3A3A64BFA931}" dt="2019-02-26T10:44:59.253" v="397" actId="555"/>
          <ac:grpSpMkLst>
            <pc:docMk/>
            <pc:sldMk cId="602851386" sldId="450"/>
            <ac:grpSpMk id="83" creationId="{055F843A-E40F-42FD-AAE4-9FF10C8BA25E}"/>
          </ac:grpSpMkLst>
        </pc:grpChg>
        <pc:graphicFrameChg chg="mod">
          <ac:chgData name="Jule Mannack" userId="c4e91a45-032f-441c-a60a-ab7e46d3b2b1" providerId="ADAL" clId="{1CF0E386-6BBF-4865-8420-3A3A64BFA931}" dt="2019-02-26T14:49:39.370" v="1070"/>
          <ac:graphicFrameMkLst>
            <pc:docMk/>
            <pc:sldMk cId="602851386" sldId="450"/>
            <ac:graphicFrameMk id="4" creationId="{205B5FF9-9B22-4FFF-B41D-0F63D084F0F0}"/>
          </ac:graphicFrameMkLst>
        </pc:graphicFrameChg>
        <pc:picChg chg="add mod">
          <ac:chgData name="Jule Mannack" userId="c4e91a45-032f-441c-a60a-ab7e46d3b2b1" providerId="ADAL" clId="{1CF0E386-6BBF-4865-8420-3A3A64BFA931}" dt="2019-02-26T10:48:00.537" v="499" actId="14100"/>
          <ac:picMkLst>
            <pc:docMk/>
            <pc:sldMk cId="602851386" sldId="450"/>
            <ac:picMk id="3" creationId="{BD775D49-4A33-4C9A-9F15-A4101A86ADC1}"/>
          </ac:picMkLst>
        </pc:picChg>
        <pc:picChg chg="add mod">
          <ac:chgData name="Jule Mannack" userId="c4e91a45-032f-441c-a60a-ab7e46d3b2b1" providerId="ADAL" clId="{1CF0E386-6BBF-4865-8420-3A3A64BFA931}" dt="2019-02-27T13:03:16.175" v="1107"/>
          <ac:picMkLst>
            <pc:docMk/>
            <pc:sldMk cId="602851386" sldId="450"/>
            <ac:picMk id="5" creationId="{3C919780-835D-46AD-BCFB-CEA9A0A47D35}"/>
          </ac:picMkLst>
        </pc:picChg>
        <pc:picChg chg="add del">
          <ac:chgData name="Jule Mannack" userId="c4e91a45-032f-441c-a60a-ab7e46d3b2b1" providerId="ADAL" clId="{1CF0E386-6BBF-4865-8420-3A3A64BFA931}" dt="2019-02-26T10:45:59.344" v="438" actId="478"/>
          <ac:picMkLst>
            <pc:docMk/>
            <pc:sldMk cId="602851386" sldId="450"/>
            <ac:picMk id="62" creationId="{E0B7300E-3C6B-454A-BE98-6460805A9C79}"/>
          </ac:picMkLst>
        </pc:picChg>
        <pc:picChg chg="add del">
          <ac:chgData name="Jule Mannack" userId="c4e91a45-032f-441c-a60a-ab7e46d3b2b1" providerId="ADAL" clId="{1CF0E386-6BBF-4865-8420-3A3A64BFA931}" dt="2019-02-26T10:45:59.344" v="438" actId="478"/>
          <ac:picMkLst>
            <pc:docMk/>
            <pc:sldMk cId="602851386" sldId="450"/>
            <ac:picMk id="64" creationId="{AC113DA1-0B43-41F6-B8B3-D53BD308ABC8}"/>
          </ac:picMkLst>
        </pc:picChg>
        <pc:picChg chg="add del">
          <ac:chgData name="Jule Mannack" userId="c4e91a45-032f-441c-a60a-ab7e46d3b2b1" providerId="ADAL" clId="{1CF0E386-6BBF-4865-8420-3A3A64BFA931}" dt="2019-02-26T10:46:02.877" v="439" actId="478"/>
          <ac:picMkLst>
            <pc:docMk/>
            <pc:sldMk cId="602851386" sldId="450"/>
            <ac:picMk id="73" creationId="{7C5AFFFC-0065-4ED2-9BEC-454CD7CC7A7B}"/>
          </ac:picMkLst>
        </pc:picChg>
        <pc:picChg chg="add del">
          <ac:chgData name="Jule Mannack" userId="c4e91a45-032f-441c-a60a-ab7e46d3b2b1" providerId="ADAL" clId="{1CF0E386-6BBF-4865-8420-3A3A64BFA931}" dt="2019-02-26T10:46:02.877" v="439" actId="478"/>
          <ac:picMkLst>
            <pc:docMk/>
            <pc:sldMk cId="602851386" sldId="450"/>
            <ac:picMk id="74" creationId="{57293116-7FD8-45E1-B666-120DA2390675}"/>
          </ac:picMkLst>
        </pc:picChg>
        <pc:picChg chg="add del mod">
          <ac:chgData name="Jule Mannack" userId="c4e91a45-032f-441c-a60a-ab7e46d3b2b1" providerId="ADAL" clId="{1CF0E386-6BBF-4865-8420-3A3A64BFA931}" dt="2019-02-26T10:47:02.518" v="449" actId="478"/>
          <ac:picMkLst>
            <pc:docMk/>
            <pc:sldMk cId="602851386" sldId="450"/>
            <ac:picMk id="89" creationId="{E870A719-1AF9-4EB1-BB6D-E480FC19429C}"/>
          </ac:picMkLst>
        </pc:picChg>
        <pc:picChg chg="del">
          <ac:chgData name="Jule Mannack" userId="c4e91a45-032f-441c-a60a-ab7e46d3b2b1" providerId="ADAL" clId="{1CF0E386-6BBF-4865-8420-3A3A64BFA931}" dt="2019-02-26T10:44:50.584" v="393" actId="478"/>
          <ac:picMkLst>
            <pc:docMk/>
            <pc:sldMk cId="602851386" sldId="450"/>
            <ac:picMk id="96" creationId="{ECE8CCA5-5D82-4131-A384-4116812566E4}"/>
          </ac:picMkLst>
        </pc:picChg>
        <pc:picChg chg="del">
          <ac:chgData name="Jule Mannack" userId="c4e91a45-032f-441c-a60a-ab7e46d3b2b1" providerId="ADAL" clId="{1CF0E386-6BBF-4865-8420-3A3A64BFA931}" dt="2019-02-26T10:44:50.584" v="393" actId="478"/>
          <ac:picMkLst>
            <pc:docMk/>
            <pc:sldMk cId="602851386" sldId="450"/>
            <ac:picMk id="97" creationId="{A6DA9390-6892-43A6-A0D8-825FE1A5B626}"/>
          </ac:picMkLst>
        </pc:picChg>
      </pc:sldChg>
      <pc:sldChg chg="addSp delSp modSp modTransition">
        <pc:chgData name="Jule Mannack" userId="c4e91a45-032f-441c-a60a-ab7e46d3b2b1" providerId="ADAL" clId="{1CF0E386-6BBF-4865-8420-3A3A64BFA931}" dt="2019-03-11T13:59:31.342" v="1761"/>
        <pc:sldMkLst>
          <pc:docMk/>
          <pc:sldMk cId="1136880606" sldId="451"/>
        </pc:sldMkLst>
        <pc:spChg chg="mod">
          <ac:chgData name="Jule Mannack" userId="c4e91a45-032f-441c-a60a-ab7e46d3b2b1" providerId="ADAL" clId="{1CF0E386-6BBF-4865-8420-3A3A64BFA931}" dt="2019-03-11T13:52:57.363" v="1742" actId="6549"/>
          <ac:spMkLst>
            <pc:docMk/>
            <pc:sldMk cId="1136880606" sldId="451"/>
            <ac:spMk id="2" creationId="{E953C733-5B66-41A2-AC5F-9C8B7DCDE77F}"/>
          </ac:spMkLst>
        </pc:spChg>
        <pc:spChg chg="mod">
          <ac:chgData name="Jule Mannack" userId="c4e91a45-032f-441c-a60a-ab7e46d3b2b1" providerId="ADAL" clId="{1CF0E386-6BBF-4865-8420-3A3A64BFA931}" dt="2019-03-08T14:16:18.871" v="1110" actId="1076"/>
          <ac:spMkLst>
            <pc:docMk/>
            <pc:sldMk cId="1136880606" sldId="451"/>
            <ac:spMk id="22" creationId="{1A15397A-139C-4968-9BFE-F6ABEB7110D5}"/>
          </ac:spMkLst>
        </pc:spChg>
        <pc:spChg chg="mod">
          <ac:chgData name="Jule Mannack" userId="c4e91a45-032f-441c-a60a-ab7e46d3b2b1" providerId="ADAL" clId="{1CF0E386-6BBF-4865-8420-3A3A64BFA931}" dt="2019-03-11T13:52:56.800" v="1713"/>
          <ac:spMkLst>
            <pc:docMk/>
            <pc:sldMk cId="1136880606" sldId="451"/>
            <ac:spMk id="24" creationId="{00000000-0000-0000-0000-000000000000}"/>
          </ac:spMkLst>
        </pc:spChg>
        <pc:spChg chg="mod">
          <ac:chgData name="Jule Mannack" userId="c4e91a45-032f-441c-a60a-ab7e46d3b2b1" providerId="ADAL" clId="{1CF0E386-6BBF-4865-8420-3A3A64BFA931}" dt="2019-03-11T13:54:21.229" v="1749" actId="11"/>
          <ac:spMkLst>
            <pc:docMk/>
            <pc:sldMk cId="1136880606" sldId="451"/>
            <ac:spMk id="57" creationId="{1F3C345B-F436-4CC0-A741-D4044F7E9D44}"/>
          </ac:spMkLst>
        </pc:spChg>
        <pc:spChg chg="mod">
          <ac:chgData name="Jule Mannack" userId="c4e91a45-032f-441c-a60a-ab7e46d3b2b1" providerId="ADAL" clId="{1CF0E386-6BBF-4865-8420-3A3A64BFA931}" dt="2019-03-11T13:53:02.887" v="1745" actId="20578"/>
          <ac:spMkLst>
            <pc:docMk/>
            <pc:sldMk cId="1136880606" sldId="451"/>
            <ac:spMk id="75" creationId="{7549D3A6-61C2-4EC2-A2EE-A17119E59DB6}"/>
          </ac:spMkLst>
        </pc:spChg>
        <pc:spChg chg="add del">
          <ac:chgData name="Jule Mannack" userId="c4e91a45-032f-441c-a60a-ab7e46d3b2b1" providerId="ADAL" clId="{1CF0E386-6BBF-4865-8420-3A3A64BFA931}" dt="2019-03-11T13:54:06.323" v="1748" actId="478"/>
          <ac:spMkLst>
            <pc:docMk/>
            <pc:sldMk cId="1136880606" sldId="451"/>
            <ac:spMk id="77" creationId="{7E5C5FB4-B3EA-43A1-87C1-4424A57BEE5B}"/>
          </ac:spMkLst>
        </pc:spChg>
        <pc:spChg chg="add del">
          <ac:chgData name="Jule Mannack" userId="c4e91a45-032f-441c-a60a-ab7e46d3b2b1" providerId="ADAL" clId="{1CF0E386-6BBF-4865-8420-3A3A64BFA931}" dt="2019-03-11T13:54:06.323" v="1748" actId="478"/>
          <ac:spMkLst>
            <pc:docMk/>
            <pc:sldMk cId="1136880606" sldId="451"/>
            <ac:spMk id="78" creationId="{A1DE9074-5FB0-4830-AC8C-C3C65E168B80}"/>
          </ac:spMkLst>
        </pc:spChg>
        <pc:spChg chg="add del">
          <ac:chgData name="Jule Mannack" userId="c4e91a45-032f-441c-a60a-ab7e46d3b2b1" providerId="ADAL" clId="{1CF0E386-6BBF-4865-8420-3A3A64BFA931}" dt="2019-03-11T13:54:06.323" v="1748" actId="478"/>
          <ac:spMkLst>
            <pc:docMk/>
            <pc:sldMk cId="1136880606" sldId="451"/>
            <ac:spMk id="79" creationId="{5C8AEDCA-680E-4067-A814-0B62114E5AE6}"/>
          </ac:spMkLst>
        </pc:spChg>
        <pc:spChg chg="add del">
          <ac:chgData name="Jule Mannack" userId="c4e91a45-032f-441c-a60a-ab7e46d3b2b1" providerId="ADAL" clId="{1CF0E386-6BBF-4865-8420-3A3A64BFA931}" dt="2019-03-11T13:54:06.323" v="1748" actId="478"/>
          <ac:spMkLst>
            <pc:docMk/>
            <pc:sldMk cId="1136880606" sldId="451"/>
            <ac:spMk id="82" creationId="{F4418D5F-0CBD-4271-9549-BF864A8126ED}"/>
          </ac:spMkLst>
        </pc:spChg>
        <pc:spChg chg="add del">
          <ac:chgData name="Jule Mannack" userId="c4e91a45-032f-441c-a60a-ab7e46d3b2b1" providerId="ADAL" clId="{1CF0E386-6BBF-4865-8420-3A3A64BFA931}" dt="2019-03-11T13:54:06.323" v="1748" actId="478"/>
          <ac:spMkLst>
            <pc:docMk/>
            <pc:sldMk cId="1136880606" sldId="451"/>
            <ac:spMk id="88" creationId="{03ACD5FA-4E2A-4D58-9C45-9E2B1AE6D4C0}"/>
          </ac:spMkLst>
        </pc:spChg>
        <pc:grpChg chg="add del">
          <ac:chgData name="Jule Mannack" userId="c4e91a45-032f-441c-a60a-ab7e46d3b2b1" providerId="ADAL" clId="{1CF0E386-6BBF-4865-8420-3A3A64BFA931}" dt="2019-03-11T13:54:06.323" v="1748" actId="478"/>
          <ac:grpSpMkLst>
            <pc:docMk/>
            <pc:sldMk cId="1136880606" sldId="451"/>
            <ac:grpSpMk id="68" creationId="{C9F9B95A-7862-476B-9094-087FB3FBAC65}"/>
          </ac:grpSpMkLst>
        </pc:grpChg>
        <pc:graphicFrameChg chg="mod">
          <ac:chgData name="Jule Mannack" userId="c4e91a45-032f-441c-a60a-ab7e46d3b2b1" providerId="ADAL" clId="{1CF0E386-6BBF-4865-8420-3A3A64BFA931}" dt="2019-03-11T13:52:57.399" v="1744"/>
          <ac:graphicFrameMkLst>
            <pc:docMk/>
            <pc:sldMk cId="1136880606" sldId="451"/>
            <ac:graphicFrameMk id="4" creationId="{205B5FF9-9B22-4FFF-B41D-0F63D084F0F0}"/>
          </ac:graphicFrameMkLst>
        </pc:graphicFrameChg>
        <pc:picChg chg="add del">
          <ac:chgData name="Jule Mannack" userId="c4e91a45-032f-441c-a60a-ab7e46d3b2b1" providerId="ADAL" clId="{1CF0E386-6BBF-4865-8420-3A3A64BFA931}" dt="2019-03-11T13:54:06.323" v="1748" actId="478"/>
          <ac:picMkLst>
            <pc:docMk/>
            <pc:sldMk cId="1136880606" sldId="451"/>
            <ac:picMk id="89" creationId="{E5E655E4-AEF9-4027-9FE6-1BB74C44E22B}"/>
          </ac:picMkLst>
        </pc:picChg>
        <pc:picChg chg="add del">
          <ac:chgData name="Jule Mannack" userId="c4e91a45-032f-441c-a60a-ab7e46d3b2b1" providerId="ADAL" clId="{1CF0E386-6BBF-4865-8420-3A3A64BFA931}" dt="2019-03-11T13:54:06.323" v="1748" actId="478"/>
          <ac:picMkLst>
            <pc:docMk/>
            <pc:sldMk cId="1136880606" sldId="451"/>
            <ac:picMk id="90" creationId="{A0DCD39A-E3C0-45E4-9D08-51918D01EDDF}"/>
          </ac:picMkLst>
        </pc:picChg>
      </pc:sldChg>
      <pc:sldChg chg="modSp">
        <pc:chgData name="Jule Mannack" userId="c4e91a45-032f-441c-a60a-ab7e46d3b2b1" providerId="ADAL" clId="{1CF0E386-6BBF-4865-8420-3A3A64BFA931}" dt="2019-03-08T14:16:10.227" v="1109" actId="1076"/>
        <pc:sldMkLst>
          <pc:docMk/>
          <pc:sldMk cId="1283380159" sldId="452"/>
        </pc:sldMkLst>
        <pc:spChg chg="mod">
          <ac:chgData name="Jule Mannack" userId="c4e91a45-032f-441c-a60a-ab7e46d3b2b1" providerId="ADAL" clId="{1CF0E386-6BBF-4865-8420-3A3A64BFA931}" dt="2019-03-08T14:16:10.227" v="1109" actId="1076"/>
          <ac:spMkLst>
            <pc:docMk/>
            <pc:sldMk cId="1283380159" sldId="452"/>
            <ac:spMk id="22" creationId="{1A15397A-139C-4968-9BFE-F6ABEB7110D5}"/>
          </ac:spMkLst>
        </pc:spChg>
      </pc:sldChg>
      <pc:sldChg chg="modSp addCm modCm">
        <pc:chgData name="Jule Mannack" userId="c4e91a45-032f-441c-a60a-ab7e46d3b2b1" providerId="ADAL" clId="{1CF0E386-6BBF-4865-8420-3A3A64BFA931}" dt="2019-03-08T15:01:33.968" v="1709" actId="947"/>
        <pc:sldMkLst>
          <pc:docMk/>
          <pc:sldMk cId="3321835105" sldId="453"/>
        </pc:sldMkLst>
        <pc:spChg chg="mod">
          <ac:chgData name="Jule Mannack" userId="c4e91a45-032f-441c-a60a-ab7e46d3b2b1" providerId="ADAL" clId="{1CF0E386-6BBF-4865-8420-3A3A64BFA931}" dt="2019-03-08T14:51:59.760" v="1391" actId="108"/>
          <ac:spMkLst>
            <pc:docMk/>
            <pc:sldMk cId="3321835105" sldId="453"/>
            <ac:spMk id="6" creationId="{52329796-B39E-4358-8733-91A156F575C0}"/>
          </ac:spMkLst>
        </pc:spChg>
        <pc:spChg chg="mod">
          <ac:chgData name="Jule Mannack" userId="c4e91a45-032f-441c-a60a-ab7e46d3b2b1" providerId="ADAL" clId="{1CF0E386-6BBF-4865-8420-3A3A64BFA931}" dt="2019-03-08T14:56:45.822" v="1538" actId="20577"/>
          <ac:spMkLst>
            <pc:docMk/>
            <pc:sldMk cId="3321835105" sldId="453"/>
            <ac:spMk id="56" creationId="{CC6014B8-A178-4DE5-88CA-182F76ECA790}"/>
          </ac:spMkLst>
        </pc:spChg>
        <pc:spChg chg="mod">
          <ac:chgData name="Jule Mannack" userId="c4e91a45-032f-441c-a60a-ab7e46d3b2b1" providerId="ADAL" clId="{1CF0E386-6BBF-4865-8420-3A3A64BFA931}" dt="2019-03-08T15:01:33.968" v="1709" actId="947"/>
          <ac:spMkLst>
            <pc:docMk/>
            <pc:sldMk cId="3321835105" sldId="453"/>
            <ac:spMk id="66" creationId="{AA51B90A-52F4-4DD0-985A-AD0C246F511C}"/>
          </ac:spMkLst>
        </pc:spChg>
        <pc:spChg chg="mod">
          <ac:chgData name="Jule Mannack" userId="c4e91a45-032f-441c-a60a-ab7e46d3b2b1" providerId="ADAL" clId="{1CF0E386-6BBF-4865-8420-3A3A64BFA931}" dt="2019-03-08T14:42:32.720" v="1317" actId="20577"/>
          <ac:spMkLst>
            <pc:docMk/>
            <pc:sldMk cId="3321835105" sldId="453"/>
            <ac:spMk id="75" creationId="{7549D3A6-61C2-4EC2-A2EE-A17119E59DB6}"/>
          </ac:spMkLst>
        </pc:spChg>
      </pc:sldChg>
      <pc:sldChg chg="modSp delCm">
        <pc:chgData name="Jule Mannack" userId="c4e91a45-032f-441c-a60a-ab7e46d3b2b1" providerId="ADAL" clId="{1CF0E386-6BBF-4865-8420-3A3A64BFA931}" dt="2019-03-08T14:33:09.445" v="1197"/>
        <pc:sldMkLst>
          <pc:docMk/>
          <pc:sldMk cId="2328860535" sldId="454"/>
        </pc:sldMkLst>
        <pc:spChg chg="mod">
          <ac:chgData name="Jule Mannack" userId="c4e91a45-032f-441c-a60a-ab7e46d3b2b1" providerId="ADAL" clId="{1CF0E386-6BBF-4865-8420-3A3A64BFA931}" dt="2019-03-08T14:33:04.901" v="1196" actId="20577"/>
          <ac:spMkLst>
            <pc:docMk/>
            <pc:sldMk cId="2328860535" sldId="454"/>
            <ac:spMk id="2" creationId="{04DB7E13-390E-4A80-A1DA-DFC006E3F191}"/>
          </ac:spMkLst>
        </pc:spChg>
      </pc:sldChg>
      <pc:sldChg chg="modSp">
        <pc:chgData name="Jule Mannack" userId="c4e91a45-032f-441c-a60a-ab7e46d3b2b1" providerId="ADAL" clId="{1CF0E386-6BBF-4865-8420-3A3A64BFA931}" dt="2019-03-11T13:59:03.117" v="1759" actId="20577"/>
        <pc:sldMkLst>
          <pc:docMk/>
          <pc:sldMk cId="2015211706" sldId="455"/>
        </pc:sldMkLst>
        <pc:spChg chg="mod">
          <ac:chgData name="Jule Mannack" userId="c4e91a45-032f-441c-a60a-ab7e46d3b2b1" providerId="ADAL" clId="{1CF0E386-6BBF-4865-8420-3A3A64BFA931}" dt="2019-03-11T13:59:03.117" v="1759" actId="20577"/>
          <ac:spMkLst>
            <pc:docMk/>
            <pc:sldMk cId="2015211706" sldId="455"/>
            <ac:spMk id="2" creationId="{EDB2824D-A8B9-4D7F-A97E-FC026F6C670C}"/>
          </ac:spMkLst>
        </pc:spChg>
      </pc:sldChg>
    </pc:docChg>
  </pc:docChgLst>
  <pc:docChgLst>
    <pc:chgData name="Heitmann, Christine (external - Project)" userId="S::christine.heitmann01@sap.com::52b5a14e-ab93-458f-a923-8964176b5f2f" providerId="AD" clId="Web-{DEE595AB-D4CC-44F1-23A6-32D6A1463CA4}"/>
    <pc:docChg chg="modSld">
      <pc:chgData name="Heitmann, Christine (external - Project)" userId="S::christine.heitmann01@sap.com::52b5a14e-ab93-458f-a923-8964176b5f2f" providerId="AD" clId="Web-{DEE595AB-D4CC-44F1-23A6-32D6A1463CA4}" dt="2019-03-20T14:38:24.026" v="4" actId="1076"/>
      <pc:docMkLst>
        <pc:docMk/>
      </pc:docMkLst>
      <pc:sldChg chg="modSp">
        <pc:chgData name="Heitmann, Christine (external - Project)" userId="S::christine.heitmann01@sap.com::52b5a14e-ab93-458f-a923-8964176b5f2f" providerId="AD" clId="Web-{DEE595AB-D4CC-44F1-23A6-32D6A1463CA4}" dt="2019-03-20T14:38:24.026" v="4" actId="1076"/>
        <pc:sldMkLst>
          <pc:docMk/>
          <pc:sldMk cId="2621075307" sldId="449"/>
        </pc:sldMkLst>
        <pc:picChg chg="mod">
          <ac:chgData name="Heitmann, Christine (external - Project)" userId="S::christine.heitmann01@sap.com::52b5a14e-ab93-458f-a923-8964176b5f2f" providerId="AD" clId="Web-{DEE595AB-D4CC-44F1-23A6-32D6A1463CA4}" dt="2019-03-20T14:38:24.026" v="4" actId="1076"/>
          <ac:picMkLst>
            <pc:docMk/>
            <pc:sldMk cId="2621075307" sldId="449"/>
            <ac:picMk id="11" creationId="{44A3ACA2-C86B-4925-8925-69B11548990F}"/>
          </ac:picMkLst>
        </pc:picChg>
      </pc:sldChg>
    </pc:docChg>
  </pc:docChgLst>
  <pc:docChgLst>
    <pc:chgData name="Wei, Wei" userId="S::wei.wei06@sap.com::8e0ec0de-9405-4d53-b68d-f16574d40fbb" providerId="AD" clId="Web-{6D5190AC-0CDB-F4CE-4CCE-A491C73BB6EC}"/>
    <pc:docChg chg="modSld">
      <pc:chgData name="Wei, Wei" userId="S::wei.wei06@sap.com::8e0ec0de-9405-4d53-b68d-f16574d40fbb" providerId="AD" clId="Web-{6D5190AC-0CDB-F4CE-4CCE-A491C73BB6EC}" dt="2019-02-27T12:55:38.448" v="147"/>
      <pc:docMkLst>
        <pc:docMk/>
      </pc:docMkLst>
      <pc:sldChg chg="modSp addCm delCm">
        <pc:chgData name="Wei, Wei" userId="S::wei.wei06@sap.com::8e0ec0de-9405-4d53-b68d-f16574d40fbb" providerId="AD" clId="Web-{6D5190AC-0CDB-F4CE-4CCE-A491C73BB6EC}" dt="2019-02-27T12:46:56.916" v="108"/>
        <pc:sldMkLst>
          <pc:docMk/>
          <pc:sldMk cId="2621075307" sldId="449"/>
        </pc:sldMkLst>
        <pc:spChg chg="mod">
          <ac:chgData name="Wei, Wei" userId="S::wei.wei06@sap.com::8e0ec0de-9405-4d53-b68d-f16574d40fbb" providerId="AD" clId="Web-{6D5190AC-0CDB-F4CE-4CCE-A491C73BB6EC}" dt="2019-02-27T12:46:47.931" v="107" actId="20577"/>
          <ac:spMkLst>
            <pc:docMk/>
            <pc:sldMk cId="2621075307" sldId="449"/>
            <ac:spMk id="3" creationId="{3FD89844-461C-4738-8FE5-8A8A8C36EA17}"/>
          </ac:spMkLst>
        </pc:spChg>
        <pc:spChg chg="mod">
          <ac:chgData name="Wei, Wei" userId="S::wei.wei06@sap.com::8e0ec0de-9405-4d53-b68d-f16574d40fbb" providerId="AD" clId="Web-{6D5190AC-0CDB-F4CE-4CCE-A491C73BB6EC}" dt="2019-02-27T12:43:24.541" v="75" actId="20577"/>
          <ac:spMkLst>
            <pc:docMk/>
            <pc:sldMk cId="2621075307" sldId="449"/>
            <ac:spMk id="61" creationId="{018FD273-6711-4532-A104-E84C889FB1C3}"/>
          </ac:spMkLst>
        </pc:spChg>
        <pc:spChg chg="mod">
          <ac:chgData name="Wei, Wei" userId="S::wei.wei06@sap.com::8e0ec0de-9405-4d53-b68d-f16574d40fbb" providerId="AD" clId="Web-{6D5190AC-0CDB-F4CE-4CCE-A491C73BB6EC}" dt="2019-02-27T12:43:29.806" v="95" actId="20577"/>
          <ac:spMkLst>
            <pc:docMk/>
            <pc:sldMk cId="2621075307" sldId="449"/>
            <ac:spMk id="64" creationId="{A74F0F30-716D-4314-BE84-A3868A503188}"/>
          </ac:spMkLst>
        </pc:spChg>
      </pc:sldChg>
      <pc:sldChg chg="modSp delCm">
        <pc:chgData name="Wei, Wei" userId="S::wei.wei06@sap.com::8e0ec0de-9405-4d53-b68d-f16574d40fbb" providerId="AD" clId="Web-{6D5190AC-0CDB-F4CE-4CCE-A491C73BB6EC}" dt="2019-02-27T12:55:38.448" v="147"/>
        <pc:sldMkLst>
          <pc:docMk/>
          <pc:sldMk cId="602851386" sldId="450"/>
        </pc:sldMkLst>
        <pc:spChg chg="mod">
          <ac:chgData name="Wei, Wei" userId="S::wei.wei06@sap.com::8e0ec0de-9405-4d53-b68d-f16574d40fbb" providerId="AD" clId="Web-{6D5190AC-0CDB-F4CE-4CCE-A491C73BB6EC}" dt="2019-02-27T12:54:01.541" v="142" actId="20577"/>
          <ac:spMkLst>
            <pc:docMk/>
            <pc:sldMk cId="602851386" sldId="450"/>
            <ac:spMk id="78" creationId="{FBE3780C-AE35-4287-9670-9646B1852DFD}"/>
          </ac:spMkLst>
        </pc:spChg>
      </pc:sldChg>
    </pc:docChg>
  </pc:docChgLst>
  <pc:docChgLst>
    <pc:chgData name="Wei, Wei" userId="S::wei.wei06@sap.com::8e0ec0de-9405-4d53-b68d-f16574d40fbb" providerId="AD" clId="Web-{4FB2DB01-3C0D-318F-41BC-96F2603770B5}"/>
    <pc:docChg chg="modSld">
      <pc:chgData name="Wei, Wei" userId="S::wei.wei06@sap.com::8e0ec0de-9405-4d53-b68d-f16574d40fbb" providerId="AD" clId="Web-{4FB2DB01-3C0D-318F-41BC-96F2603770B5}" dt="2019-02-25T14:55:13.329" v="2" actId="20577"/>
      <pc:docMkLst>
        <pc:docMk/>
      </pc:docMkLst>
      <pc:sldChg chg="modSp">
        <pc:chgData name="Wei, Wei" userId="S::wei.wei06@sap.com::8e0ec0de-9405-4d53-b68d-f16574d40fbb" providerId="AD" clId="Web-{4FB2DB01-3C0D-318F-41BC-96F2603770B5}" dt="2019-02-25T14:55:02.360" v="0" actId="20577"/>
        <pc:sldMkLst>
          <pc:docMk/>
          <pc:sldMk cId="602851386" sldId="450"/>
        </pc:sldMkLst>
        <pc:spChg chg="mod">
          <ac:chgData name="Wei, Wei" userId="S::wei.wei06@sap.com::8e0ec0de-9405-4d53-b68d-f16574d40fbb" providerId="AD" clId="Web-{4FB2DB01-3C0D-318F-41BC-96F2603770B5}" dt="2019-02-25T14:55:02.360" v="0" actId="20577"/>
          <ac:spMkLst>
            <pc:docMk/>
            <pc:sldMk cId="602851386" sldId="450"/>
            <ac:spMk id="75" creationId="{7549D3A6-61C2-4EC2-A2EE-A17119E59DB6}"/>
          </ac:spMkLst>
        </pc:spChg>
      </pc:sldChg>
    </pc:docChg>
  </pc:docChgLst>
  <pc:docChgLst>
    <pc:chgData name="Wei, Wei" userId="S::wei.wei06@sap.com::8e0ec0de-9405-4d53-b68d-f16574d40fbb" providerId="AD" clId="Web-{5F372BE6-239C-6401-8059-C6BD87108997}"/>
    <pc:docChg chg="modSld">
      <pc:chgData name="Wei, Wei" userId="S::wei.wei06@sap.com::8e0ec0de-9405-4d53-b68d-f16574d40fbb" providerId="AD" clId="Web-{5F372BE6-239C-6401-8059-C6BD87108997}" dt="2019-02-26T16:33:41.764" v="41"/>
      <pc:docMkLst>
        <pc:docMk/>
      </pc:docMkLst>
      <pc:sldChg chg="modSp modCm">
        <pc:chgData name="Wei, Wei" userId="S::wei.wei06@sap.com::8e0ec0de-9405-4d53-b68d-f16574d40fbb" providerId="AD" clId="Web-{5F372BE6-239C-6401-8059-C6BD87108997}" dt="2019-02-26T16:30:55.059" v="36" actId="20577"/>
        <pc:sldMkLst>
          <pc:docMk/>
          <pc:sldMk cId="2621075307" sldId="449"/>
        </pc:sldMkLst>
        <pc:spChg chg="mod">
          <ac:chgData name="Wei, Wei" userId="S::wei.wei06@sap.com::8e0ec0de-9405-4d53-b68d-f16574d40fbb" providerId="AD" clId="Web-{5F372BE6-239C-6401-8059-C6BD87108997}" dt="2019-02-26T16:30:55.059" v="36" actId="20577"/>
          <ac:spMkLst>
            <pc:docMk/>
            <pc:sldMk cId="2621075307" sldId="449"/>
            <ac:spMk id="6" creationId="{4A37DC2D-4D78-4360-8B83-925C577D0102}"/>
          </ac:spMkLst>
        </pc:spChg>
      </pc:sldChg>
      <pc:sldChg chg="modSp addCm modCm">
        <pc:chgData name="Wei, Wei" userId="S::wei.wei06@sap.com::8e0ec0de-9405-4d53-b68d-f16574d40fbb" providerId="AD" clId="Web-{5F372BE6-239C-6401-8059-C6BD87108997}" dt="2019-02-26T16:33:41.764" v="41"/>
        <pc:sldMkLst>
          <pc:docMk/>
          <pc:sldMk cId="602851386" sldId="450"/>
        </pc:sldMkLst>
        <pc:spChg chg="mod">
          <ac:chgData name="Wei, Wei" userId="S::wei.wei06@sap.com::8e0ec0de-9405-4d53-b68d-f16574d40fbb" providerId="AD" clId="Web-{5F372BE6-239C-6401-8059-C6BD87108997}" dt="2019-02-26T16:05:15.457" v="32" actId="20577"/>
          <ac:spMkLst>
            <pc:docMk/>
            <pc:sldMk cId="602851386" sldId="450"/>
            <ac:spMk id="57" creationId="{1F3C345B-F436-4CC0-A741-D4044F7E9D44}"/>
          </ac:spMkLst>
        </pc:spChg>
        <pc:spChg chg="mod">
          <ac:chgData name="Wei, Wei" userId="S::wei.wei06@sap.com::8e0ec0de-9405-4d53-b68d-f16574d40fbb" providerId="AD" clId="Web-{5F372BE6-239C-6401-8059-C6BD87108997}" dt="2019-02-26T16:01:49.627" v="3" actId="20577"/>
          <ac:spMkLst>
            <pc:docMk/>
            <pc:sldMk cId="602851386" sldId="450"/>
            <ac:spMk id="75" creationId="{7549D3A6-61C2-4EC2-A2EE-A17119E59DB6}"/>
          </ac:spMkLst>
        </pc:spChg>
      </pc:sldChg>
    </pc:docChg>
  </pc:docChgLst>
  <pc:docChgLst>
    <pc:chgData name="Ley, Susanne" userId="S::susanne.ley@sap.com::b592323d-d4db-42f1-843c-c950659363eb" providerId="AD" clId="Web-{9941FA34-2298-3788-4328-F4A981308A61}"/>
    <pc:docChg chg="modSld">
      <pc:chgData name="Ley, Susanne" userId="S::susanne.ley@sap.com::b592323d-d4db-42f1-843c-c950659363eb" providerId="AD" clId="Web-{9941FA34-2298-3788-4328-F4A981308A61}" dt="2019-03-01T09:21:44.446" v="32" actId="20577"/>
      <pc:docMkLst>
        <pc:docMk/>
      </pc:docMkLst>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a:p>
        </p:txBody>
      </p:sp>
    </p:spTree>
    <p:extLst>
      <p:ext uri="{BB962C8B-B14F-4D97-AF65-F5344CB8AC3E}">
        <p14:creationId xmlns:p14="http://schemas.microsoft.com/office/powerpoint/2010/main" val="2461065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de-DE" smtClean="0"/>
              <a:pPr/>
              <a:t>3</a:t>
            </a:fld>
            <a:endParaRPr lang="de-DE"/>
          </a:p>
        </p:txBody>
      </p:sp>
    </p:spTree>
    <p:extLst>
      <p:ext uri="{BB962C8B-B14F-4D97-AF65-F5344CB8AC3E}">
        <p14:creationId xmlns:p14="http://schemas.microsoft.com/office/powerpoint/2010/main" val="17955311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de-DE" smtClean="0"/>
              <a:pPr/>
              <a:t>4</a:t>
            </a:fld>
            <a:endParaRPr lang="de-DE"/>
          </a:p>
        </p:txBody>
      </p:sp>
    </p:spTree>
    <p:extLst>
      <p:ext uri="{BB962C8B-B14F-4D97-AF65-F5344CB8AC3E}">
        <p14:creationId xmlns:p14="http://schemas.microsoft.com/office/powerpoint/2010/main" val="39268134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de-DE" smtClean="0"/>
              <a:pPr/>
              <a:t>5</a:t>
            </a:fld>
            <a:endParaRPr lang="de-DE"/>
          </a:p>
        </p:txBody>
      </p:sp>
    </p:spTree>
    <p:extLst>
      <p:ext uri="{BB962C8B-B14F-4D97-AF65-F5344CB8AC3E}">
        <p14:creationId xmlns:p14="http://schemas.microsoft.com/office/powerpoint/2010/main" val="32241950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de-DE" smtClean="0"/>
              <a:pPr/>
              <a:t>6</a:t>
            </a:fld>
            <a:endParaRPr lang="de-DE"/>
          </a:p>
        </p:txBody>
      </p:sp>
    </p:spTree>
    <p:extLst>
      <p:ext uri="{BB962C8B-B14F-4D97-AF65-F5344CB8AC3E}">
        <p14:creationId xmlns:p14="http://schemas.microsoft.com/office/powerpoint/2010/main" val="226991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de-DE" smtClean="0"/>
              <a:pPr/>
              <a:t>7</a:t>
            </a:fld>
            <a:endParaRPr lang="de-DE"/>
          </a:p>
        </p:txBody>
      </p:sp>
    </p:spTree>
    <p:extLst>
      <p:ext uri="{BB962C8B-B14F-4D97-AF65-F5344CB8AC3E}">
        <p14:creationId xmlns:p14="http://schemas.microsoft.com/office/powerpoint/2010/main" val="7866604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4.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4.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7.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4.png"/><Relationship Id="rId3" Type="http://schemas.openxmlformats.org/officeDocument/2006/relationships/image" Target="../media/image1.png"/><Relationship Id="rId7" Type="http://schemas.openxmlformats.org/officeDocument/2006/relationships/hyperlink" Target="https://www.youtube.com/user/SAP" TargetMode="External"/><Relationship Id="rId12" Type="http://schemas.openxmlformats.org/officeDocument/2006/relationships/image" Target="../media/image8.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1.xml"/><Relationship Id="rId6" Type="http://schemas.openxmlformats.org/officeDocument/2006/relationships/image" Target="../media/image5.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7.png"/><Relationship Id="rId4" Type="http://schemas.openxmlformats.org/officeDocument/2006/relationships/hyperlink" Target="https://www.sap.com/corporate/de/legal/copyright.html" TargetMode="External"/><Relationship Id="rId9" Type="http://schemas.openxmlformats.org/officeDocument/2006/relationships/hyperlink" Target="https://twitter.com/sap" TargetMode="Externa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a:stretch>
            <a:fillRect/>
          </a:stretch>
        </p:blipFill>
        <p:spPr>
          <a:xfrm>
            <a:off x="9949255" y="6217668"/>
            <a:ext cx="1963635" cy="360000"/>
          </a:xfrm>
          <a:prstGeom prst="rect">
            <a:avLst/>
          </a:prstGeom>
        </p:spPr>
      </p:pic>
      <p:sp>
        <p:nvSpPr>
          <p:cNvPr id="13" name="Classification"/>
          <p:cNvSpPr txBox="1"/>
          <p:nvPr userDrawn="1"/>
        </p:nvSpPr>
        <p:spPr>
          <a:xfrm>
            <a:off x="288000" y="5769666"/>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a:t>INTERNAL</a:t>
            </a:r>
          </a:p>
        </p:txBody>
      </p:sp>
      <p:sp>
        <p:nvSpPr>
          <p:cNvPr id="19" name="Speaker"/>
          <p:cNvSpPr>
            <a:spLocks noGrp="1"/>
          </p:cNvSpPr>
          <p:nvPr userDrawn="1">
            <p:ph type="subTitle" idx="1" hasCustomPrompt="1"/>
          </p:nvPr>
        </p:nvSpPr>
        <p:spPr bwMode="black">
          <a:xfrm>
            <a:off x="288000" y="5130489"/>
            <a:ext cx="10899174"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5174" cy="3430006"/>
          </a:xfrm>
          <a:noFill/>
        </p:spPr>
        <p:txBody>
          <a:bodyPr tIns="504000"/>
          <a:lstStyle>
            <a:lvl1pPr algn="ctr">
              <a:defRPr sz="1600">
                <a:solidFill>
                  <a:schemeClr val="tx1"/>
                </a:solidFill>
              </a:defRPr>
            </a:lvl1pPr>
          </a:lstStyle>
          <a:p>
            <a:r>
              <a:rPr lang="en-US"/>
              <a:t>Click to insert title image or illustration</a:t>
            </a:r>
          </a:p>
        </p:txBody>
      </p:sp>
      <p:pic>
        <p:nvPicPr>
          <p:cNvPr id="7" name="Picture 6">
            <a:extLst>
              <a:ext uri="{FF2B5EF4-FFF2-40B4-BE49-F238E27FC236}">
                <a16:creationId xmlns:a16="http://schemas.microsoft.com/office/drawing/2014/main" id="{D96E1F8B-BAFC-48FC-88B6-9D3C8C8F24DC}"/>
              </a:ext>
            </a:extLst>
          </p:cNvPr>
          <p:cNvPicPr>
            <a:picLocks noChangeAspect="1"/>
          </p:cNvPicPr>
          <p:nvPr userDrawn="1"/>
        </p:nvPicPr>
        <p:blipFill>
          <a:blip r:embed="rId3"/>
          <a:stretch>
            <a:fillRect/>
          </a:stretch>
        </p:blipFill>
        <p:spPr>
          <a:xfrm>
            <a:off x="423828" y="6126915"/>
            <a:ext cx="568835" cy="568835"/>
          </a:xfrm>
          <a:prstGeom prst="rect">
            <a:avLst/>
          </a:prstGeom>
        </p:spPr>
      </p:pic>
    </p:spTree>
    <p:extLst>
      <p:ext uri="{BB962C8B-B14F-4D97-AF65-F5344CB8AC3E}">
        <p14:creationId xmlns:p14="http://schemas.microsoft.com/office/powerpoint/2010/main" val="245271761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505" userDrawn="1">
          <p15:clr>
            <a:srgbClr val="FBAE40"/>
          </p15:clr>
        </p15:guide>
        <p15:guide id="2" orient="horz" pos="4144" userDrawn="1">
          <p15:clr>
            <a:srgbClr val="FBAE40"/>
          </p15:clr>
        </p15:guide>
        <p15:guide id="3" orient="horz" pos="2162" userDrawn="1">
          <p15:clr>
            <a:srgbClr val="FBAE40"/>
          </p15:clr>
        </p15:guide>
        <p15:guide id="4" pos="181" userDrawn="1">
          <p15:clr>
            <a:srgbClr val="FBAE40"/>
          </p15:clr>
        </p15:guide>
        <p15:guide id="5" orient="horz" pos="2534" userDrawn="1">
          <p15:clr>
            <a:srgbClr val="FBAE40"/>
          </p15:clr>
        </p15:guide>
        <p15:guide id="6" orient="horz" pos="3164" userDrawn="1">
          <p15:clr>
            <a:srgbClr val="FBAE40"/>
          </p15:clr>
        </p15:guide>
        <p15:guide id="7" orient="horz" pos="3232" userDrawn="1">
          <p15:clr>
            <a:srgbClr val="FBAE40"/>
          </p15:clr>
        </p15:guide>
        <p15:guide id="8" orient="horz" pos="3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D76C4A0-B044-4C3B-973E-9D5D5734FFC8}"/>
              </a:ext>
            </a:extLst>
          </p:cNvPr>
          <p:cNvGraphicFramePr>
            <a:graphicFrameLocks noChangeAspect="1"/>
          </p:cNvGraphicFramePr>
          <p:nvPr userDrawn="1">
            <p:custDataLst>
              <p:tags r:id="rId2"/>
            </p:custDataLst>
            <p:extLst>
              <p:ext uri="{D42A27DB-BD31-4B8C-83A1-F6EECF244321}">
                <p14:modId xmlns:p14="http://schemas.microsoft.com/office/powerpoint/2010/main" val="2350251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BD76C4A0-B044-4C3B-973E-9D5D5734FF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99C8CE-3DE1-48A4-B62F-91FD9CDA5A65}"/>
              </a:ext>
            </a:extLst>
          </p:cNvPr>
          <p:cNvSpPr/>
          <p:nvPr userDrawn="1">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marL="0" marR="0" lvl="0" indent="0" algn="ctr" defTabSz="914400" eaLnBrk="1" fontAlgn="base" latinLnBrk="0" hangingPunct="1">
              <a:lnSpc>
                <a:spcPct val="100000"/>
              </a:lnSpc>
              <a:spcBef>
                <a:spcPct val="0"/>
              </a:spcBef>
              <a:spcAft>
                <a:spcPct val="0"/>
              </a:spcAft>
              <a:buClr>
                <a:srgbClr val="F0AB00"/>
              </a:buClr>
              <a:buSzPct val="80000"/>
              <a:tabLst/>
            </a:pPr>
            <a:endParaRPr kumimoji="0" lang="en-US" sz="2400" b="1" i="0" u="none" strike="noStrike" kern="0" cap="none" spc="0" normalizeH="0" baseline="0" noProof="0" err="1">
              <a:ln>
                <a:noFill/>
              </a:ln>
              <a:effectLst/>
              <a:uLnTx/>
              <a:uFillTx/>
              <a:latin typeface="Arial" panose="020B0604020202020204" pitchFamily="34" charset="0"/>
              <a:ea typeface="+mj-ea"/>
              <a:cs typeface="+mj-cs"/>
              <a:sym typeface="Arial" panose="020B0604020202020204" pitchFamily="34" charset="0"/>
            </a:endParaRPr>
          </a:p>
        </p:txBody>
      </p:sp>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9720000" cy="369332"/>
          </a:xfrm>
        </p:spPr>
        <p:txBody>
          <a:bodyPr/>
          <a:lstStyle/>
          <a:p>
            <a:r>
              <a:rPr lang="en-US" noProof="0"/>
              <a:t>Insert page title (sentence case)</a:t>
            </a:r>
            <a:endParaRPr lang="en-US"/>
          </a:p>
        </p:txBody>
      </p:sp>
      <p:pic>
        <p:nvPicPr>
          <p:cNvPr id="8" name="Picture 7" descr="C:\Users\i828132\AppData\Local\Microsoft\Windows\INetCache\Content.Word\BCfL_RGB_Black@4x.png">
            <a:extLst>
              <a:ext uri="{FF2B5EF4-FFF2-40B4-BE49-F238E27FC236}">
                <a16:creationId xmlns:a16="http://schemas.microsoft.com/office/drawing/2014/main" id="{9F0C1036-17A3-4BEF-8D5C-CDFAB7614ACF}"/>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13728" y="330707"/>
            <a:ext cx="1223547" cy="750344"/>
          </a:xfrm>
          <a:prstGeom prst="rect">
            <a:avLst/>
          </a:prstGeom>
          <a:noFill/>
          <a:ln>
            <a:noFill/>
          </a:ln>
        </p:spPr>
      </p:pic>
    </p:spTree>
    <p:extLst>
      <p:ext uri="{BB962C8B-B14F-4D97-AF65-F5344CB8AC3E}">
        <p14:creationId xmlns:p14="http://schemas.microsoft.com/office/powerpoint/2010/main" val="866416376"/>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399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03A8F05-0247-440A-BA90-1126FA35840E}"/>
              </a:ext>
            </a:extLst>
          </p:cNvPr>
          <p:cNvGraphicFramePr>
            <a:graphicFrameLocks noChangeAspect="1"/>
          </p:cNvGraphicFramePr>
          <p:nvPr userDrawn="1">
            <p:custDataLst>
              <p:tags r:id="rId2"/>
            </p:custDataLst>
            <p:extLst>
              <p:ext uri="{D42A27DB-BD31-4B8C-83A1-F6EECF244321}">
                <p14:modId xmlns:p14="http://schemas.microsoft.com/office/powerpoint/2010/main" val="2261097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003A8F05-0247-440A-BA90-1126FA35840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146F777-53B8-4E02-9E72-E7913FF488E3}"/>
              </a:ext>
            </a:extLst>
          </p:cNvPr>
          <p:cNvSpPr/>
          <p:nvPr userDrawn="1">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marL="0" marR="0" lvl="0" indent="0" algn="ctr" defTabSz="914400" eaLnBrk="1" fontAlgn="base" latinLnBrk="0" hangingPunct="1">
              <a:lnSpc>
                <a:spcPct val="100000"/>
              </a:lnSpc>
              <a:spcBef>
                <a:spcPct val="0"/>
              </a:spcBef>
              <a:spcAft>
                <a:spcPct val="0"/>
              </a:spcAft>
              <a:buClr>
                <a:srgbClr val="F0AB00"/>
              </a:buClr>
              <a:buSzPct val="80000"/>
              <a:tabLst/>
            </a:pPr>
            <a:endParaRPr kumimoji="0" lang="en-US" sz="2400" b="1" i="0" u="none" strike="noStrike" kern="0" cap="none" spc="0" normalizeH="0" baseline="0" noProof="0" err="1">
              <a:ln>
                <a:noFill/>
              </a:ln>
              <a:effectLst/>
              <a:uLnTx/>
              <a:uFillTx/>
              <a:latin typeface="Arial" panose="020B0604020202020204" pitchFamily="34" charset="0"/>
              <a:ea typeface="+mj-ea"/>
              <a:cs typeface="+mj-cs"/>
              <a:sym typeface="Arial" panose="020B0604020202020204" pitchFamily="34" charset="0"/>
            </a:endParaRPr>
          </a:p>
        </p:txBody>
      </p:sp>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9720000" cy="369332"/>
          </a:xfrm>
        </p:spPr>
        <p:txBody>
          <a:bodyPr/>
          <a:lstStyle/>
          <a:p>
            <a:r>
              <a:rPr lang="en-US" noProof="0"/>
              <a:t>Insert page title (sentence case)</a:t>
            </a:r>
            <a:endParaRPr lang="en-US"/>
          </a:p>
        </p:txBody>
      </p:sp>
      <p:pic>
        <p:nvPicPr>
          <p:cNvPr id="7" name="Picture 6" descr="C:\Users\i828132\AppData\Local\Microsoft\Windows\INetCache\Content.Word\BCfL_RGB_Black@4x.png">
            <a:extLst>
              <a:ext uri="{FF2B5EF4-FFF2-40B4-BE49-F238E27FC236}">
                <a16:creationId xmlns:a16="http://schemas.microsoft.com/office/drawing/2014/main" id="{BAB17316-C8D4-4D48-997D-B8A5750722A4}"/>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13728" y="330707"/>
            <a:ext cx="1223547" cy="750344"/>
          </a:xfrm>
          <a:prstGeom prst="rect">
            <a:avLst/>
          </a:prstGeom>
          <a:noFill/>
          <a:ln>
            <a:noFill/>
          </a:ln>
        </p:spPr>
      </p:pic>
    </p:spTree>
    <p:extLst>
      <p:ext uri="{BB962C8B-B14F-4D97-AF65-F5344CB8AC3E}">
        <p14:creationId xmlns:p14="http://schemas.microsoft.com/office/powerpoint/2010/main" val="2504941297"/>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2678" userDrawn="1">
          <p15:clr>
            <a:srgbClr val="FBAE40"/>
          </p15:clr>
        </p15:guide>
        <p15:guide id="6" orient="horz" pos="3004" userDrawn="1">
          <p15:clr>
            <a:srgbClr val="FBAE40"/>
          </p15:clr>
        </p15:guide>
        <p15:guide id="7" orient="horz" pos="3991"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8B1B73A-434A-4951-864C-BA4831BCA9B8}"/>
              </a:ext>
            </a:extLst>
          </p:cNvPr>
          <p:cNvGraphicFramePr>
            <a:graphicFrameLocks noChangeAspect="1"/>
          </p:cNvGraphicFramePr>
          <p:nvPr userDrawn="1">
            <p:custDataLst>
              <p:tags r:id="rId2"/>
            </p:custDataLst>
            <p:extLst>
              <p:ext uri="{D42A27DB-BD31-4B8C-83A1-F6EECF244321}">
                <p14:modId xmlns:p14="http://schemas.microsoft.com/office/powerpoint/2010/main" val="2785702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38B1B73A-434A-4951-864C-BA4831BCA9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68084-D7ED-4507-9762-1B19852D4320}"/>
              </a:ext>
            </a:extLst>
          </p:cNvPr>
          <p:cNvSpPr/>
          <p:nvPr userDrawn="1">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marL="0" marR="0" lvl="0" indent="0" algn="ctr" defTabSz="914400" eaLnBrk="1" fontAlgn="base" latinLnBrk="0" hangingPunct="1">
              <a:lnSpc>
                <a:spcPct val="100000"/>
              </a:lnSpc>
              <a:spcBef>
                <a:spcPct val="0"/>
              </a:spcBef>
              <a:spcAft>
                <a:spcPct val="0"/>
              </a:spcAft>
              <a:buClr>
                <a:srgbClr val="F0AB00"/>
              </a:buClr>
              <a:buSzPct val="80000"/>
              <a:tabLst/>
            </a:pPr>
            <a:endParaRPr kumimoji="0" lang="en-US" sz="2400" b="1" i="0" u="none" strike="noStrike" kern="0" cap="none" spc="0" normalizeH="0" baseline="0" noProof="0" err="1">
              <a:ln>
                <a:noFill/>
              </a:ln>
              <a:effectLst/>
              <a:uLnTx/>
              <a:uFillTx/>
              <a:latin typeface="Arial" panose="020B0604020202020204" pitchFamily="34" charset="0"/>
              <a:ea typeface="+mj-ea"/>
              <a:cs typeface="+mj-cs"/>
              <a:sym typeface="Arial" panose="020B0604020202020204" pitchFamily="34" charset="0"/>
            </a:endParaRPr>
          </a:p>
        </p:txBody>
      </p:sp>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9720000" cy="369332"/>
          </a:xfrm>
        </p:spPr>
        <p:txBody>
          <a:bodyPr/>
          <a:lstStyle/>
          <a:p>
            <a:r>
              <a:rPr lang="en-US" noProof="0"/>
              <a:t>Insert page title (sentence case)</a:t>
            </a:r>
            <a:endParaRPr lang="en-US"/>
          </a:p>
        </p:txBody>
      </p:sp>
      <p:pic>
        <p:nvPicPr>
          <p:cNvPr id="11" name="Picture 10" descr="C:\Users\i828132\AppData\Local\Microsoft\Windows\INetCache\Content.Word\BCfL_RGB_Black@4x.png">
            <a:extLst>
              <a:ext uri="{FF2B5EF4-FFF2-40B4-BE49-F238E27FC236}">
                <a16:creationId xmlns:a16="http://schemas.microsoft.com/office/drawing/2014/main" id="{2D1F44D8-B3BE-4030-AB26-755FD0D0E287}"/>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13728" y="330707"/>
            <a:ext cx="1223547" cy="750344"/>
          </a:xfrm>
          <a:prstGeom prst="rect">
            <a:avLst/>
          </a:prstGeom>
          <a:noFill/>
          <a:ln>
            <a:noFill/>
          </a:ln>
        </p:spPr>
      </p:pic>
    </p:spTree>
    <p:extLst>
      <p:ext uri="{BB962C8B-B14F-4D97-AF65-F5344CB8AC3E}">
        <p14:creationId xmlns:p14="http://schemas.microsoft.com/office/powerpoint/2010/main" val="727667599"/>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2428" userDrawn="1">
          <p15:clr>
            <a:srgbClr val="FBAE40"/>
          </p15:clr>
        </p15:guide>
        <p15:guide id="11" orient="horz" pos="2743" userDrawn="1">
          <p15:clr>
            <a:srgbClr val="FBAE40"/>
          </p15:clr>
        </p15:guide>
        <p15:guide id="12" orient="horz" pos="399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2A12B6A-6E32-43E3-AB7A-576C8BE386A3}"/>
              </a:ext>
            </a:extLst>
          </p:cNvPr>
          <p:cNvGraphicFramePr>
            <a:graphicFrameLocks noChangeAspect="1"/>
          </p:cNvGraphicFramePr>
          <p:nvPr userDrawn="1">
            <p:custDataLst>
              <p:tags r:id="rId2"/>
            </p:custDataLst>
            <p:extLst>
              <p:ext uri="{D42A27DB-BD31-4B8C-83A1-F6EECF244321}">
                <p14:modId xmlns:p14="http://schemas.microsoft.com/office/powerpoint/2010/main" val="3347250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F2A12B6A-6E32-43E3-AB7A-576C8BE386A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1F70153-3E06-40D6-BA79-43DAD22DDBE7}"/>
              </a:ext>
            </a:extLst>
          </p:cNvPr>
          <p:cNvSpPr/>
          <p:nvPr userDrawn="1">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marL="0" marR="0" lvl="0" indent="0" algn="ctr" defTabSz="914400" eaLnBrk="1" fontAlgn="base" latinLnBrk="0" hangingPunct="1">
              <a:lnSpc>
                <a:spcPct val="100000"/>
              </a:lnSpc>
              <a:spcBef>
                <a:spcPct val="0"/>
              </a:spcBef>
              <a:spcAft>
                <a:spcPct val="0"/>
              </a:spcAft>
              <a:buClr>
                <a:srgbClr val="F0AB00"/>
              </a:buClr>
              <a:buSzPct val="80000"/>
              <a:tabLst/>
            </a:pPr>
            <a:endParaRPr kumimoji="0" lang="en-US" sz="2400" b="1" i="0" u="none" strike="noStrike" kern="0" cap="none" spc="0" normalizeH="0" baseline="0" noProof="0" err="1">
              <a:ln>
                <a:noFill/>
              </a:ln>
              <a:effectLst/>
              <a:uLnTx/>
              <a:uFillTx/>
              <a:latin typeface="Arial" panose="020B0604020202020204" pitchFamily="34" charset="0"/>
              <a:ea typeface="+mj-ea"/>
              <a:cs typeface="+mj-cs"/>
              <a:sym typeface="Arial" panose="020B0604020202020204" pitchFamily="34" charset="0"/>
            </a:endParaRPr>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9720000" cy="369332"/>
          </a:xfrm>
        </p:spPr>
        <p:txBody>
          <a:bodyPr/>
          <a:lstStyle/>
          <a:p>
            <a:r>
              <a:rPr lang="en-US" noProof="0"/>
              <a:t>Insert page title (sentence case)</a:t>
            </a:r>
            <a:endParaRPr lang="en-US"/>
          </a:p>
        </p:txBody>
      </p:sp>
      <p:pic>
        <p:nvPicPr>
          <p:cNvPr id="11" name="Picture 10" descr="C:\Users\i828132\AppData\Local\Microsoft\Windows\INetCache\Content.Word\BCfL_RGB_Black@4x.png">
            <a:extLst>
              <a:ext uri="{FF2B5EF4-FFF2-40B4-BE49-F238E27FC236}">
                <a16:creationId xmlns:a16="http://schemas.microsoft.com/office/drawing/2014/main" id="{536EFB97-5F68-47C1-93BD-A97C7A2A0A69}"/>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13728" y="330707"/>
            <a:ext cx="1223547" cy="750344"/>
          </a:xfrm>
          <a:prstGeom prst="rect">
            <a:avLst/>
          </a:prstGeom>
          <a:noFill/>
          <a:ln>
            <a:noFill/>
          </a:ln>
        </p:spPr>
      </p:pic>
    </p:spTree>
    <p:extLst>
      <p:ext uri="{BB962C8B-B14F-4D97-AF65-F5344CB8AC3E}">
        <p14:creationId xmlns:p14="http://schemas.microsoft.com/office/powerpoint/2010/main" val="2680594478"/>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1" userDrawn="1">
          <p15:clr>
            <a:srgbClr val="FBAE40"/>
          </p15:clr>
        </p15:guide>
        <p15:guide id="5" orient="horz" pos="211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932785900"/>
      </p:ext>
    </p:extLst>
  </p:cSld>
  <p:clrMapOvr>
    <a:masterClrMapping/>
  </p:clrMapOvr>
  <p:extLst mod="1">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pic>
        <p:nvPicPr>
          <p:cNvPr id="6" name="Picture 5" descr="C:\Users\i828132\AppData\Local\Microsoft\Windows\INetCache\Content.Word\BCfL_RGB_Black@4x.png">
            <a:extLst>
              <a:ext uri="{FF2B5EF4-FFF2-40B4-BE49-F238E27FC236}">
                <a16:creationId xmlns:a16="http://schemas.microsoft.com/office/drawing/2014/main" id="{20BA58CF-F6E9-469D-8C4C-51EF6F308B49}"/>
              </a:ext>
            </a:extLst>
          </p:cNvPr>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13728" y="330707"/>
            <a:ext cx="1223547" cy="750344"/>
          </a:xfrm>
          <a:prstGeom prst="rect">
            <a:avLst/>
          </a:prstGeom>
          <a:noFill/>
          <a:ln>
            <a:noFill/>
          </a:ln>
        </p:spPr>
      </p:pic>
    </p:spTree>
    <p:extLst>
      <p:ext uri="{BB962C8B-B14F-4D97-AF65-F5344CB8AC3E}">
        <p14:creationId xmlns:p14="http://schemas.microsoft.com/office/powerpoint/2010/main" val="3425020262"/>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9" userDrawn="1">
          <p15:clr>
            <a:srgbClr val="FBAE40"/>
          </p15:clr>
        </p15:guide>
        <p15:guide id="5" orient="horz" pos="317" userDrawn="1">
          <p15:clr>
            <a:srgbClr val="FBAE40"/>
          </p15:clr>
        </p15:guide>
        <p15:guide id="6" orient="horz" pos="551" userDrawn="1">
          <p15:clr>
            <a:srgbClr val="FBAE40"/>
          </p15:clr>
        </p15:guide>
        <p15:guide id="7" orient="horz" pos="10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4001" y="504000"/>
            <a:ext cx="5112000" cy="369332"/>
          </a:xfrm>
        </p:spPr>
        <p:txBody>
          <a:bodyPr/>
          <a:lstStyle/>
          <a:p>
            <a:r>
              <a:rPr lang="en-US" noProof="0"/>
              <a:t>Insert page title (sentence case)</a:t>
            </a:r>
            <a:endParaRPr lang="en-US"/>
          </a:p>
        </p:txBody>
      </p:sp>
      <p:pic>
        <p:nvPicPr>
          <p:cNvPr id="6" name="Picture 5" descr="C:\Users\i828132\AppData\Local\Microsoft\Windows\INetCache\Content.Word\BCfL_RGB_Black@4x.png">
            <a:extLst>
              <a:ext uri="{FF2B5EF4-FFF2-40B4-BE49-F238E27FC236}">
                <a16:creationId xmlns:a16="http://schemas.microsoft.com/office/drawing/2014/main" id="{C6985D10-1CCD-4387-B38F-07A57BFE3805}"/>
              </a:ext>
            </a:extLst>
          </p:cNvPr>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13728" y="330707"/>
            <a:ext cx="1223547" cy="750344"/>
          </a:xfrm>
          <a:prstGeom prst="rect">
            <a:avLst/>
          </a:prstGeom>
          <a:noFill/>
          <a:ln>
            <a:noFill/>
          </a:ln>
        </p:spPr>
      </p:pic>
    </p:spTree>
    <p:extLst>
      <p:ext uri="{BB962C8B-B14F-4D97-AF65-F5344CB8AC3E}">
        <p14:creationId xmlns:p14="http://schemas.microsoft.com/office/powerpoint/2010/main" val="552787710"/>
      </p:ext>
    </p:extLst>
  </p:cSld>
  <p:clrMapOvr>
    <a:masterClrMapping/>
  </p:clrMapOvr>
  <p:extLst mod="1">
    <p:ext uri="{DCECCB84-F9BA-43D5-87BE-67443E8EF086}">
      <p15:sldGuideLst xmlns:p15="http://schemas.microsoft.com/office/powerpoint/2012/main">
        <p15:guide id="1" pos="3841"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3538" userDrawn="1">
          <p15:clr>
            <a:srgbClr val="FBAE40"/>
          </p15:clr>
        </p15:guide>
        <p15:guide id="7" pos="31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pic>
        <p:nvPicPr>
          <p:cNvPr id="3" name="Picture 2" descr="C:\Users\i828132\AppData\Local\Microsoft\Windows\INetCache\Content.Word\BCfL_RGB_Black@4x.png">
            <a:extLst>
              <a:ext uri="{FF2B5EF4-FFF2-40B4-BE49-F238E27FC236}">
                <a16:creationId xmlns:a16="http://schemas.microsoft.com/office/drawing/2014/main" id="{A1CB866A-6F45-4095-9D62-9C4EBB5FD971}"/>
              </a:ext>
            </a:extLst>
          </p:cNvPr>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13728" y="330707"/>
            <a:ext cx="1223547" cy="750344"/>
          </a:xfrm>
          <a:prstGeom prst="rect">
            <a:avLst/>
          </a:prstGeom>
          <a:noFill/>
          <a:ln>
            <a:noFill/>
          </a:ln>
        </p:spPr>
      </p:pic>
    </p:spTree>
    <p:extLst>
      <p:ext uri="{BB962C8B-B14F-4D97-AF65-F5344CB8AC3E}">
        <p14:creationId xmlns:p14="http://schemas.microsoft.com/office/powerpoint/2010/main" val="41397911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AA97F31-F491-4B1E-82F2-9C7C40E69EFD}"/>
              </a:ext>
            </a:extLst>
          </p:cNvPr>
          <p:cNvGraphicFramePr>
            <a:graphicFrameLocks noChangeAspect="1"/>
          </p:cNvGraphicFramePr>
          <p:nvPr userDrawn="1">
            <p:custDataLst>
              <p:tags r:id="rId2"/>
            </p:custDataLst>
            <p:extLst>
              <p:ext uri="{D42A27DB-BD31-4B8C-83A1-F6EECF244321}">
                <p14:modId xmlns:p14="http://schemas.microsoft.com/office/powerpoint/2010/main" val="2522221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3AA97F31-F491-4B1E-82F2-9C7C40E69E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328CE3F-52CB-402A-9824-3C0433839C90}"/>
              </a:ext>
            </a:extLst>
          </p:cNvPr>
          <p:cNvSpPr/>
          <p:nvPr userDrawn="1">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marL="0" marR="0" lvl="0" indent="0" algn="ctr" defTabSz="914400" eaLnBrk="1" fontAlgn="base" latinLnBrk="0" hangingPunct="1">
              <a:lnSpc>
                <a:spcPct val="100000"/>
              </a:lnSpc>
              <a:spcBef>
                <a:spcPct val="0"/>
              </a:spcBef>
              <a:spcAft>
                <a:spcPct val="0"/>
              </a:spcAft>
              <a:buClr>
                <a:srgbClr val="F0AB00"/>
              </a:buClr>
              <a:buSzPct val="80000"/>
              <a:tabLst/>
            </a:pPr>
            <a:endParaRPr kumimoji="0" lang="en-US" sz="2400" b="1" i="0" u="none" strike="noStrike" kern="0" cap="none" spc="0" normalizeH="0" baseline="0" noProof="0" err="1">
              <a:ln>
                <a:noFill/>
              </a:ln>
              <a:effectLst/>
              <a:uLnTx/>
              <a:uFillTx/>
              <a:latin typeface="Arial" panose="020B0604020202020204" pitchFamily="34" charset="0"/>
              <a:ea typeface="+mj-ea"/>
              <a:cs typeface="+mj-cs"/>
              <a:sym typeface="Arial" panose="020B0604020202020204" pitchFamily="34" charset="0"/>
            </a:endParaRPr>
          </a:p>
        </p:txBody>
      </p:sp>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9720000" cy="369332"/>
          </a:xfrm>
        </p:spPr>
        <p:txBody>
          <a:bodyPr/>
          <a:lstStyle/>
          <a:p>
            <a:r>
              <a:rPr lang="en-US" noProof="0"/>
              <a:t>Insert page title (sentence case)</a:t>
            </a:r>
            <a:endParaRPr lang="en-US"/>
          </a:p>
        </p:txBody>
      </p:sp>
      <p:pic>
        <p:nvPicPr>
          <p:cNvPr id="6" name="Picture 5" descr="C:\Users\i828132\AppData\Local\Microsoft\Windows\INetCache\Content.Word\BCfL_RGB_Black@4x.png">
            <a:extLst>
              <a:ext uri="{FF2B5EF4-FFF2-40B4-BE49-F238E27FC236}">
                <a16:creationId xmlns:a16="http://schemas.microsoft.com/office/drawing/2014/main" id="{33F4CCF8-9E64-4144-875C-1DBEC02E76FA}"/>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13728" y="330707"/>
            <a:ext cx="1223547" cy="750344"/>
          </a:xfrm>
          <a:prstGeom prst="rect">
            <a:avLst/>
          </a:prstGeom>
          <a:noFill/>
          <a:ln>
            <a:noFill/>
          </a:ln>
        </p:spPr>
      </p:pic>
    </p:spTree>
    <p:extLst>
      <p:ext uri="{BB962C8B-B14F-4D97-AF65-F5344CB8AC3E}">
        <p14:creationId xmlns:p14="http://schemas.microsoft.com/office/powerpoint/2010/main" val="1287227243"/>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C1780DE-EAB9-4F21-865F-B82E9BFE8443}"/>
              </a:ext>
            </a:extLst>
          </p:cNvPr>
          <p:cNvGraphicFramePr>
            <a:graphicFrameLocks noChangeAspect="1"/>
          </p:cNvGraphicFramePr>
          <p:nvPr userDrawn="1">
            <p:custDataLst>
              <p:tags r:id="rId2"/>
            </p:custDataLst>
            <p:extLst>
              <p:ext uri="{D42A27DB-BD31-4B8C-83A1-F6EECF244321}">
                <p14:modId xmlns:p14="http://schemas.microsoft.com/office/powerpoint/2010/main" val="3504986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6C1780DE-EAB9-4F21-865F-B82E9BFE84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662F43E-B758-4A98-813B-E7EE78770DBB}"/>
              </a:ext>
            </a:extLst>
          </p:cNvPr>
          <p:cNvSpPr/>
          <p:nvPr userDrawn="1">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marL="0" marR="0" lvl="0" indent="0" algn="ctr" defTabSz="914400" eaLnBrk="1" fontAlgn="base" latinLnBrk="0" hangingPunct="1">
              <a:lnSpc>
                <a:spcPct val="100000"/>
              </a:lnSpc>
              <a:spcBef>
                <a:spcPct val="0"/>
              </a:spcBef>
              <a:spcAft>
                <a:spcPct val="0"/>
              </a:spcAft>
              <a:buClr>
                <a:srgbClr val="F0AB00"/>
              </a:buClr>
              <a:buSzPct val="80000"/>
              <a:tabLst/>
            </a:pPr>
            <a:endParaRPr kumimoji="0" lang="en-US" sz="2400" b="1" i="0" u="none" strike="noStrike" kern="0" cap="none" spc="0" normalizeH="0" baseline="0" noProof="0" err="1">
              <a:ln>
                <a:noFill/>
              </a:ln>
              <a:effectLst/>
              <a:uLnTx/>
              <a:uFillTx/>
              <a:latin typeface="Arial" panose="020B0604020202020204" pitchFamily="34" charset="0"/>
              <a:ea typeface="+mj-ea"/>
              <a:cs typeface="+mj-cs"/>
              <a:sym typeface="Arial" panose="020B0604020202020204" pitchFamily="34" charset="0"/>
            </a:endParaRPr>
          </a:p>
        </p:txBody>
      </p:sp>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a:xfrm>
            <a:off x="504001" y="504000"/>
            <a:ext cx="9972000" cy="369332"/>
          </a:xfrm>
        </p:spPr>
        <p:txBody>
          <a:bodyPr/>
          <a:lstStyle/>
          <a:p>
            <a:r>
              <a:rPr lang="en-US" noProof="0"/>
              <a:t>Insert page title (sentence case)</a:t>
            </a:r>
            <a:endParaRPr lang="en-US"/>
          </a:p>
        </p:txBody>
      </p:sp>
      <p:pic>
        <p:nvPicPr>
          <p:cNvPr id="4" name="Picture 3" descr="C:\Users\i828132\AppData\Local\Microsoft\Windows\INetCache\Content.Word\BCfL_RGB_Black@4x.png">
            <a:extLst>
              <a:ext uri="{FF2B5EF4-FFF2-40B4-BE49-F238E27FC236}">
                <a16:creationId xmlns:a16="http://schemas.microsoft.com/office/drawing/2014/main" id="{070BDEF3-757D-4EF7-8C9C-A80B01FF7839}"/>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13728" y="330707"/>
            <a:ext cx="1223547" cy="750344"/>
          </a:xfrm>
          <a:prstGeom prst="rect">
            <a:avLst/>
          </a:prstGeom>
          <a:noFill/>
          <a:ln>
            <a:noFill/>
          </a:ln>
        </p:spPr>
      </p:pic>
    </p:spTree>
    <p:extLst>
      <p:ext uri="{BB962C8B-B14F-4D97-AF65-F5344CB8AC3E}">
        <p14:creationId xmlns:p14="http://schemas.microsoft.com/office/powerpoint/2010/main" val="4186098743"/>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a:t>INTERNAL</a:t>
            </a:r>
          </a:p>
        </p:txBody>
      </p:sp>
      <p:sp>
        <p:nvSpPr>
          <p:cNvPr id="6" name="Speaker"/>
          <p:cNvSpPr>
            <a:spLocks noGrp="1"/>
          </p:cNvSpPr>
          <p:nvPr userDrawn="1">
            <p:ph type="subTitle" idx="1" hasCustomPrompt="1"/>
          </p:nvPr>
        </p:nvSpPr>
        <p:spPr bwMode="black">
          <a:xfrm>
            <a:off x="287999" y="4268503"/>
            <a:ext cx="109008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4" name="Title 3"/>
          <p:cNvSpPr>
            <a:spLocks noGrp="1"/>
          </p:cNvSpPr>
          <p:nvPr>
            <p:ph type="title" hasCustomPrompt="1"/>
          </p:nvPr>
        </p:nvSpPr>
        <p:spPr>
          <a:xfrm>
            <a:off x="288000" y="2706317"/>
            <a:ext cx="10900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de-DE" sz="3600" kern="0" err="1">
              <a:ea typeface="Arial Unicode MS" pitchFamily="34" charset="-128"/>
              <a:cs typeface="Arial Unicode MS" pitchFamily="34" charset="-128"/>
            </a:endParaRPr>
          </a:p>
        </p:txBody>
      </p:sp>
      <p:pic>
        <p:nvPicPr>
          <p:cNvPr id="10" name="SAP Logo" descr="SAP Logo" title="SAP Logo">
            <a:extLst>
              <a:ext uri="{FF2B5EF4-FFF2-40B4-BE49-F238E27FC236}">
                <a16:creationId xmlns:a16="http://schemas.microsoft.com/office/drawing/2014/main" id="{251CD224-43D4-4D54-87EA-DD5933D21141}"/>
              </a:ext>
            </a:extLst>
          </p:cNvPr>
          <p:cNvPicPr>
            <a:picLocks noChangeAspect="1"/>
          </p:cNvPicPr>
          <p:nvPr userDrawn="1"/>
        </p:nvPicPr>
        <p:blipFill>
          <a:blip r:embed="rId2"/>
          <a:stretch>
            <a:fillRect/>
          </a:stretch>
        </p:blipFill>
        <p:spPr>
          <a:xfrm>
            <a:off x="9949255" y="6217668"/>
            <a:ext cx="1963635" cy="360000"/>
          </a:xfrm>
          <a:prstGeom prst="rect">
            <a:avLst/>
          </a:prstGeom>
        </p:spPr>
      </p:pic>
      <p:pic>
        <p:nvPicPr>
          <p:cNvPr id="7" name="Picture 6">
            <a:extLst>
              <a:ext uri="{FF2B5EF4-FFF2-40B4-BE49-F238E27FC236}">
                <a16:creationId xmlns:a16="http://schemas.microsoft.com/office/drawing/2014/main" id="{1FD61428-FD99-400E-840B-57464A9C7E72}"/>
              </a:ext>
            </a:extLst>
          </p:cNvPr>
          <p:cNvPicPr>
            <a:picLocks noChangeAspect="1"/>
          </p:cNvPicPr>
          <p:nvPr userDrawn="1"/>
        </p:nvPicPr>
        <p:blipFill>
          <a:blip r:embed="rId3"/>
          <a:stretch>
            <a:fillRect/>
          </a:stretch>
        </p:blipFill>
        <p:spPr>
          <a:xfrm>
            <a:off x="423828" y="6126915"/>
            <a:ext cx="568835" cy="568835"/>
          </a:xfrm>
          <a:prstGeom prst="rect">
            <a:avLst/>
          </a:prstGeom>
        </p:spPr>
      </p:pic>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2" name="Picture 1" descr="C:\Users\i828132\AppData\Local\Microsoft\Windows\INetCache\Content.Word\BCfL_RGB_Black@4x.png">
            <a:extLst>
              <a:ext uri="{FF2B5EF4-FFF2-40B4-BE49-F238E27FC236}">
                <a16:creationId xmlns:a16="http://schemas.microsoft.com/office/drawing/2014/main" id="{02A5F264-9122-462F-B191-09ECA835F4FB}"/>
              </a:ext>
            </a:extLst>
          </p:cNvPr>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13728" y="330707"/>
            <a:ext cx="1223547" cy="750344"/>
          </a:xfrm>
          <a:prstGeom prst="rect">
            <a:avLst/>
          </a:prstGeom>
          <a:noFill/>
          <a:ln>
            <a:noFill/>
          </a:ln>
        </p:spPr>
      </p:pic>
    </p:spTree>
    <p:extLst>
      <p:ext uri="{BB962C8B-B14F-4D97-AF65-F5344CB8AC3E}">
        <p14:creationId xmlns:p14="http://schemas.microsoft.com/office/powerpoint/2010/main" val="4342181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a:t>Thank you.</a:t>
            </a:r>
            <a:endParaRPr lang="de-DE"/>
          </a:p>
        </p:txBody>
      </p:sp>
      <p:pic>
        <p:nvPicPr>
          <p:cNvPr id="5" name="Picture 4" descr="C:\Users\i828132\AppData\Local\Microsoft\Windows\INetCache\Content.Word\BCfL_RGB_Black@4x.png">
            <a:extLst>
              <a:ext uri="{FF2B5EF4-FFF2-40B4-BE49-F238E27FC236}">
                <a16:creationId xmlns:a16="http://schemas.microsoft.com/office/drawing/2014/main" id="{CA99EDDE-78F1-4538-8334-8620081F57CA}"/>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813728" y="330707"/>
            <a:ext cx="1223547" cy="750344"/>
          </a:xfrm>
          <a:prstGeom prst="rect">
            <a:avLst/>
          </a:prstGeom>
          <a:noFill/>
          <a:ln>
            <a:noFill/>
          </a:ln>
        </p:spPr>
      </p:pic>
    </p:spTree>
    <p:extLst>
      <p:ext uri="{BB962C8B-B14F-4D97-AF65-F5344CB8AC3E}">
        <p14:creationId xmlns:p14="http://schemas.microsoft.com/office/powerpoint/2010/main" val="781090314"/>
      </p:ext>
    </p:extLst>
  </p:cSld>
  <p:clrMapOvr>
    <a:overrideClrMapping bg1="lt1" tx1="dk1" bg2="lt2" tx2="dk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p15:guide id="1" pos="7364" userDrawn="1">
          <p15:clr>
            <a:srgbClr val="FBAE40"/>
          </p15:clr>
        </p15:guide>
        <p15:guide id="2" orient="horz" pos="924"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19" name="Copyright information English"/>
          <p:cNvSpPr txBox="1"/>
          <p:nvPr userDrawn="1"/>
        </p:nvSpPr>
        <p:spPr bwMode="black">
          <a:xfrm>
            <a:off x="50323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19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8"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20"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21"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22"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43" name="Follow all of SAP"/>
          <p:cNvSpPr txBox="1"/>
          <p:nvPr userDrawn="1"/>
        </p:nvSpPr>
        <p:spPr bwMode="black">
          <a:xfrm>
            <a:off x="503238"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pic>
        <p:nvPicPr>
          <p:cNvPr id="10" name="Picture 9" descr="C:\Users\i828132\AppData\Local\Microsoft\Windows\INetCache\Content.Word\BCfL_RGB_Black@4x.png">
            <a:extLst>
              <a:ext uri="{FF2B5EF4-FFF2-40B4-BE49-F238E27FC236}">
                <a16:creationId xmlns:a16="http://schemas.microsoft.com/office/drawing/2014/main" id="{A61D4177-FF46-499A-B26E-1E137284FD1E}"/>
              </a:ext>
            </a:extLst>
          </p:cNvPr>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0813728" y="330707"/>
            <a:ext cx="1223547" cy="750344"/>
          </a:xfrm>
          <a:prstGeom prst="rect">
            <a:avLst/>
          </a:prstGeom>
          <a:noFill/>
          <a:ln>
            <a:noFill/>
          </a:ln>
        </p:spPr>
      </p:pic>
    </p:spTree>
    <p:extLst>
      <p:ext uri="{BB962C8B-B14F-4D97-AF65-F5344CB8AC3E}">
        <p14:creationId xmlns:p14="http://schemas.microsoft.com/office/powerpoint/2010/main" val="451925193"/>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a:stretch>
            <a:fillRect/>
          </a:stretch>
        </p:blipFill>
        <p:spPr>
          <a:xfrm>
            <a:off x="9725565" y="5994000"/>
            <a:ext cx="1963635" cy="360000"/>
          </a:xfrm>
          <a:prstGeom prst="rect">
            <a:avLst/>
          </a:prstGeom>
        </p:spPr>
      </p:pic>
      <p:sp>
        <p:nvSpPr>
          <p:cNvPr id="32" name="Copyright information-German"/>
          <p:cNvSpPr txBox="1"/>
          <p:nvPr userDrawn="1"/>
        </p:nvSpPr>
        <p:spPr bwMode="black">
          <a:xfrm>
            <a:off x="50399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19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de-DE" sz="800" kern="1200" noProof="0">
                <a:solidFill>
                  <a:schemeClr val="tx1"/>
                </a:solidFill>
                <a:effectLst/>
                <a:latin typeface="Arial"/>
                <a:ea typeface="+mn-ea"/>
                <a:cs typeface="+mn-cs"/>
                <a:hlinkClick r:id="rId4"/>
              </a:rPr>
              <a:t>www.sap.com/corporate/de/legal/copyright.html</a:t>
            </a:r>
            <a:r>
              <a:rPr lang="de-DE" sz="800" kern="1200" noProof="0">
                <a:solidFill>
                  <a:schemeClr val="tx1"/>
                </a:solidFill>
                <a:effectLst/>
                <a:latin typeface="Arial"/>
                <a:ea typeface="+mn-ea"/>
                <a:cs typeface="+mn-cs"/>
              </a:rPr>
              <a:t>.</a:t>
            </a:r>
          </a:p>
        </p:txBody>
      </p:sp>
      <p:pic>
        <p:nvPicPr>
          <p:cNvPr id="26"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27"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28"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29"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20"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pic>
        <p:nvPicPr>
          <p:cNvPr id="10" name="Picture 9" descr="C:\Users\i828132\AppData\Local\Microsoft\Windows\INetCache\Content.Word\BCfL_RGB_Black@4x.png">
            <a:extLst>
              <a:ext uri="{FF2B5EF4-FFF2-40B4-BE49-F238E27FC236}">
                <a16:creationId xmlns:a16="http://schemas.microsoft.com/office/drawing/2014/main" id="{DA80D0D4-C0F4-496D-BA4D-90E85B8848E6}"/>
              </a:ext>
            </a:extLst>
          </p:cNvPr>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0813728" y="330707"/>
            <a:ext cx="1223547" cy="750344"/>
          </a:xfrm>
          <a:prstGeom prst="rect">
            <a:avLst/>
          </a:prstGeom>
          <a:noFill/>
          <a:ln>
            <a:noFill/>
          </a:ln>
        </p:spPr>
      </p:pic>
    </p:spTree>
    <p:extLst>
      <p:ext uri="{BB962C8B-B14F-4D97-AF65-F5344CB8AC3E}">
        <p14:creationId xmlns:p14="http://schemas.microsoft.com/office/powerpoint/2010/main" val="1911862759"/>
      </p:ext>
    </p:extLst>
  </p:cSld>
  <p:clrMapOvr>
    <a:masterClrMapping/>
  </p:clrMapOvr>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113713247"/>
      </p:ext>
    </p:extLst>
  </p:cSld>
  <p:clrMapOvr>
    <a:masterClrMapping/>
  </p:clrMapOvr>
  <p:extLst mod="1">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ext - blue">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36523654"/>
      </p:ext>
    </p:extLst>
  </p:cSld>
  <p:clrMapOvr>
    <a:masterClrMapping/>
  </p:clrMapOvr>
  <p:extLst mod="1">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 blu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66177160"/>
      </p:ext>
    </p:extLst>
  </p:cSld>
  <p:clrMapOvr>
    <a:masterClrMapping/>
  </p:clrMapOvr>
  <p:extLst mod="1">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a:p>
        </p:txBody>
      </p:sp>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a:t>INTERNAL</a:t>
            </a:r>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8" name="Title 4"/>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de-DE" sz="3600" kern="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userDrawn="1"/>
        </p:nvPicPr>
        <p:blipFill>
          <a:blip r:embed="rId2"/>
          <a:stretch>
            <a:fillRect/>
          </a:stretch>
        </p:blipFill>
        <p:spPr>
          <a:xfrm>
            <a:off x="9949255" y="6217668"/>
            <a:ext cx="1963635" cy="360000"/>
          </a:xfrm>
          <a:prstGeom prst="rect">
            <a:avLst/>
          </a:prstGeom>
        </p:spPr>
      </p:pic>
      <p:pic>
        <p:nvPicPr>
          <p:cNvPr id="11" name="Picture 10">
            <a:extLst>
              <a:ext uri="{FF2B5EF4-FFF2-40B4-BE49-F238E27FC236}">
                <a16:creationId xmlns:a16="http://schemas.microsoft.com/office/drawing/2014/main" id="{DA9CC4CD-BEF3-4C87-89E3-3F7F9BC423D1}"/>
              </a:ext>
            </a:extLst>
          </p:cNvPr>
          <p:cNvPicPr>
            <a:picLocks noChangeAspect="1"/>
          </p:cNvPicPr>
          <p:nvPr userDrawn="1"/>
        </p:nvPicPr>
        <p:blipFill>
          <a:blip r:embed="rId3"/>
          <a:stretch>
            <a:fillRect/>
          </a:stretch>
        </p:blipFill>
        <p:spPr>
          <a:xfrm>
            <a:off x="423828" y="6126915"/>
            <a:ext cx="568835" cy="568835"/>
          </a:xfrm>
          <a:prstGeom prst="rect">
            <a:avLst/>
          </a:prstGeom>
        </p:spPr>
      </p:pic>
    </p:spTree>
    <p:extLst>
      <p:ext uri="{BB962C8B-B14F-4D97-AF65-F5344CB8AC3E}">
        <p14:creationId xmlns:p14="http://schemas.microsoft.com/office/powerpoint/2010/main" val="304804629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pos="4196" userDrawn="1">
          <p15:clr>
            <a:srgbClr val="FBAE40"/>
          </p15:clr>
        </p15:guide>
        <p15:guide id="4" orient="horz" pos="2688" userDrawn="1">
          <p15:clr>
            <a:srgbClr val="FBAE40"/>
          </p15:clr>
        </p15:guide>
        <p15:guide id="5" orient="horz" pos="2335" userDrawn="1">
          <p15:clr>
            <a:srgbClr val="FBAE40"/>
          </p15:clr>
        </p15:guide>
        <p15:guide id="6" orient="horz" pos="2960" userDrawn="1">
          <p15:clr>
            <a:srgbClr val="FBAE40"/>
          </p15:clr>
        </p15:guide>
        <p15:guide id="7" orient="horz" pos="414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3A7105B-FF76-40C5-9CB4-6A63E36AC9B6}"/>
              </a:ext>
            </a:extLst>
          </p:cNvPr>
          <p:cNvGraphicFramePr>
            <a:graphicFrameLocks noChangeAspect="1"/>
          </p:cNvGraphicFramePr>
          <p:nvPr userDrawn="1">
            <p:custDataLst>
              <p:tags r:id="rId2"/>
            </p:custDataLst>
            <p:extLst>
              <p:ext uri="{D42A27DB-BD31-4B8C-83A1-F6EECF244321}">
                <p14:modId xmlns:p14="http://schemas.microsoft.com/office/powerpoint/2010/main" val="124942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D3A7105B-FF76-40C5-9CB4-6A63E36AC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a:xfrm>
            <a:off x="504001" y="504000"/>
            <a:ext cx="9720000" cy="369332"/>
          </a:xfrm>
        </p:spPr>
        <p:txBody>
          <a:bodyPr/>
          <a:lstStyle>
            <a:lvl1pPr>
              <a:defRPr/>
            </a:lvl1pPr>
          </a:lstStyle>
          <a:p>
            <a:r>
              <a:rPr lang="en-US"/>
              <a:t>Agenda</a:t>
            </a:r>
          </a:p>
        </p:txBody>
      </p:sp>
      <p:pic>
        <p:nvPicPr>
          <p:cNvPr id="5" name="Picture 4" descr="C:\Users\i828132\AppData\Local\Microsoft\Windows\INetCache\Content.Word\BCfL_RGB_Black@4x.png">
            <a:extLst>
              <a:ext uri="{FF2B5EF4-FFF2-40B4-BE49-F238E27FC236}">
                <a16:creationId xmlns:a16="http://schemas.microsoft.com/office/drawing/2014/main" id="{3225DCCB-709C-4274-ABDB-858145C3A84E}"/>
              </a:ext>
            </a:extLst>
          </p:cNvPr>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813728" y="330707"/>
            <a:ext cx="1223547" cy="750344"/>
          </a:xfrm>
          <a:prstGeom prst="rect">
            <a:avLst/>
          </a:prstGeom>
          <a:noFill/>
          <a:ln>
            <a:noFill/>
          </a:ln>
        </p:spPr>
      </p:pic>
    </p:spTree>
    <p:extLst>
      <p:ext uri="{BB962C8B-B14F-4D97-AF65-F5344CB8AC3E}">
        <p14:creationId xmlns:p14="http://schemas.microsoft.com/office/powerpoint/2010/main" val="1859360619"/>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4109527874"/>
      </p:ext>
    </p:extLst>
  </p:cSld>
  <p:clrMapOvr>
    <a:overrideClrMapping bg1="lt1" tx1="dk1" bg2="lt2" tx2="dk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p15:guide id="1" pos="317"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1008985274"/>
      </p:ext>
    </p:extLst>
  </p:cSld>
  <p:clrMapOvr>
    <a:overrideClrMapping bg1="lt1" tx1="dk1" bg2="lt2" tx2="dk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17"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F48A70-17EF-4E8D-97A4-88F4DD855C03}"/>
              </a:ext>
            </a:extLst>
          </p:cNvPr>
          <p:cNvGraphicFramePr>
            <a:graphicFrameLocks noChangeAspect="1"/>
          </p:cNvGraphicFramePr>
          <p:nvPr userDrawn="1">
            <p:custDataLst>
              <p:tags r:id="rId2"/>
            </p:custDataLst>
            <p:extLst>
              <p:ext uri="{D42A27DB-BD31-4B8C-83A1-F6EECF244321}">
                <p14:modId xmlns:p14="http://schemas.microsoft.com/office/powerpoint/2010/main" val="1006408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05F48A70-17EF-4E8D-97A4-88F4DD855C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F9114A7-3D6D-4025-A4A0-D85021B6FFAF}"/>
              </a:ext>
            </a:extLst>
          </p:cNvPr>
          <p:cNvSpPr/>
          <p:nvPr userDrawn="1">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marL="0" marR="0" lvl="0" indent="0" algn="ctr" defTabSz="914400" eaLnBrk="1" fontAlgn="base" latinLnBrk="0" hangingPunct="1">
              <a:lnSpc>
                <a:spcPct val="100000"/>
              </a:lnSpc>
              <a:spcBef>
                <a:spcPct val="0"/>
              </a:spcBef>
              <a:spcAft>
                <a:spcPct val="0"/>
              </a:spcAft>
              <a:buClr>
                <a:srgbClr val="F0AB00"/>
              </a:buClr>
              <a:buSzPct val="80000"/>
              <a:tabLst/>
            </a:pPr>
            <a:endParaRPr kumimoji="0" lang="en-US" sz="2400" b="1" i="0" u="none" strike="noStrike" kern="0" cap="none" spc="0" normalizeH="0" baseline="0" noProof="0" err="1">
              <a:ln>
                <a:noFill/>
              </a:ln>
              <a:effectLst/>
              <a:uLnTx/>
              <a:uFillTx/>
              <a:latin typeface="Arial" panose="020B0604020202020204" pitchFamily="34" charset="0"/>
              <a:ea typeface="+mj-ea"/>
              <a:cs typeface="+mj-cs"/>
              <a:sym typeface="Arial" panose="020B0604020202020204" pitchFamily="34" charset="0"/>
            </a:endParaRPr>
          </a:p>
        </p:txBody>
      </p:sp>
      <p:sp>
        <p:nvSpPr>
          <p:cNvPr id="3" name="Title"/>
          <p:cNvSpPr>
            <a:spLocks noGrp="1"/>
          </p:cNvSpPr>
          <p:nvPr>
            <p:ph type="title" hasCustomPrompt="1"/>
          </p:nvPr>
        </p:nvSpPr>
        <p:spPr>
          <a:xfrm>
            <a:off x="504001" y="504000"/>
            <a:ext cx="9720000" cy="369332"/>
          </a:xfrm>
        </p:spPr>
        <p:txBody>
          <a:bodyPr/>
          <a:lstStyle/>
          <a:p>
            <a:r>
              <a:rPr lang="en-US" noProof="0"/>
              <a:t>Insert page title (sentence case)</a:t>
            </a:r>
            <a:endParaRPr lang="en-US"/>
          </a:p>
        </p:txBody>
      </p:sp>
      <p:pic>
        <p:nvPicPr>
          <p:cNvPr id="4" name="Picture 3" descr="C:\Users\i828132\AppData\Local\Microsoft\Windows\INetCache\Content.Word\BCfL_RGB_Black@4x.png">
            <a:extLst>
              <a:ext uri="{FF2B5EF4-FFF2-40B4-BE49-F238E27FC236}">
                <a16:creationId xmlns:a16="http://schemas.microsoft.com/office/drawing/2014/main" id="{F531B76A-8D54-4600-B154-1CC2BF0DA63C}"/>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13728" y="330707"/>
            <a:ext cx="1223547" cy="750344"/>
          </a:xfrm>
          <a:prstGeom prst="rect">
            <a:avLst/>
          </a:prstGeom>
          <a:noFill/>
          <a:ln>
            <a:noFill/>
          </a:ln>
        </p:spPr>
      </p:pic>
    </p:spTree>
    <p:extLst>
      <p:ext uri="{BB962C8B-B14F-4D97-AF65-F5344CB8AC3E}">
        <p14:creationId xmlns:p14="http://schemas.microsoft.com/office/powerpoint/2010/main" val="2466743634"/>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9161DBC-D256-4225-9AFB-786E41BC21F5}"/>
              </a:ext>
            </a:extLst>
          </p:cNvPr>
          <p:cNvGraphicFramePr>
            <a:graphicFrameLocks noChangeAspect="1"/>
          </p:cNvGraphicFramePr>
          <p:nvPr userDrawn="1">
            <p:custDataLst>
              <p:tags r:id="rId2"/>
            </p:custDataLst>
            <p:extLst>
              <p:ext uri="{D42A27DB-BD31-4B8C-83A1-F6EECF244321}">
                <p14:modId xmlns:p14="http://schemas.microsoft.com/office/powerpoint/2010/main" val="169743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99161DBC-D256-4225-9AFB-786E41BC21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A8F1306-1366-4187-98B1-590E82014591}"/>
              </a:ext>
            </a:extLst>
          </p:cNvPr>
          <p:cNvSpPr/>
          <p:nvPr userDrawn="1">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marL="0" marR="0" lvl="0" indent="0" algn="ctr" defTabSz="914400" eaLnBrk="1" fontAlgn="base" latinLnBrk="0" hangingPunct="1">
              <a:lnSpc>
                <a:spcPct val="100000"/>
              </a:lnSpc>
              <a:spcBef>
                <a:spcPct val="0"/>
              </a:spcBef>
              <a:spcAft>
                <a:spcPct val="0"/>
              </a:spcAft>
              <a:buClr>
                <a:srgbClr val="F0AB00"/>
              </a:buClr>
              <a:buSzPct val="80000"/>
              <a:tabLst/>
            </a:pPr>
            <a:endParaRPr kumimoji="0" lang="en-US" sz="2400" b="1" i="0" u="none" strike="noStrike" kern="0" cap="none" spc="0" normalizeH="0" baseline="0" noProof="0" err="1">
              <a:ln>
                <a:noFill/>
              </a:ln>
              <a:effectLst/>
              <a:uLnTx/>
              <a:uFillTx/>
              <a:latin typeface="Arial" panose="020B0604020202020204" pitchFamily="34" charset="0"/>
              <a:ea typeface="+mj-ea"/>
              <a:cs typeface="+mj-cs"/>
              <a:sym typeface="Arial" panose="020B0604020202020204" pitchFamily="34" charset="0"/>
            </a:endParaRPr>
          </a:p>
        </p:txBody>
      </p:sp>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9720000" cy="369332"/>
          </a:xfrm>
        </p:spPr>
        <p:txBody>
          <a:bodyPr/>
          <a:lstStyle/>
          <a:p>
            <a:r>
              <a:rPr lang="en-US" noProof="0"/>
              <a:t>Insert page title (sentence case)</a:t>
            </a:r>
            <a:endParaRPr lang="en-US"/>
          </a:p>
        </p:txBody>
      </p:sp>
      <p:pic>
        <p:nvPicPr>
          <p:cNvPr id="5" name="Picture 4" descr="C:\Users\i828132\AppData\Local\Microsoft\Windows\INetCache\Content.Word\BCfL_RGB_Black@4x.png">
            <a:extLst>
              <a:ext uri="{FF2B5EF4-FFF2-40B4-BE49-F238E27FC236}">
                <a16:creationId xmlns:a16="http://schemas.microsoft.com/office/drawing/2014/main" id="{F0485A36-8D74-451C-BD71-30025D3D1F46}"/>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13728" y="330707"/>
            <a:ext cx="1223547" cy="750344"/>
          </a:xfrm>
          <a:prstGeom prst="rect">
            <a:avLst/>
          </a:prstGeom>
          <a:noFill/>
          <a:ln>
            <a:noFill/>
          </a:ln>
        </p:spPr>
      </p:pic>
    </p:spTree>
    <p:extLst>
      <p:ext uri="{BB962C8B-B14F-4D97-AF65-F5344CB8AC3E}">
        <p14:creationId xmlns:p14="http://schemas.microsoft.com/office/powerpoint/2010/main" val="2129332223"/>
      </p:ext>
    </p:extLst>
  </p:cSld>
  <p:clrMapOvr>
    <a:masterClrMapping/>
  </p:clrMapOvr>
  <p:extLst mod="1">
    <p:ext uri="{DCECCB84-F9BA-43D5-87BE-67443E8EF086}">
      <p15:sldGuideLst xmlns:p15="http://schemas.microsoft.com/office/powerpoint/2012/main">
        <p15:guide id="1" pos="316" userDrawn="1">
          <p15:clr>
            <a:srgbClr val="FBAE40"/>
          </p15:clr>
        </p15:guide>
        <p15:guide id="2" orient="horz" pos="3991"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10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585525-C01C-477C-BDD9-BED5BE0218BD}"/>
              </a:ext>
            </a:extLst>
          </p:cNvPr>
          <p:cNvGraphicFramePr>
            <a:graphicFrameLocks noChangeAspect="1"/>
          </p:cNvGraphicFramePr>
          <p:nvPr userDrawn="1">
            <p:custDataLst>
              <p:tags r:id="rId2"/>
            </p:custDataLst>
            <p:extLst>
              <p:ext uri="{D42A27DB-BD31-4B8C-83A1-F6EECF244321}">
                <p14:modId xmlns:p14="http://schemas.microsoft.com/office/powerpoint/2010/main" val="4237061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5F585525-C01C-477C-BDD9-BED5BE0218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6BC6219-E9A4-4449-A060-4C1F844779FD}"/>
              </a:ext>
            </a:extLst>
          </p:cNvPr>
          <p:cNvSpPr/>
          <p:nvPr userDrawn="1">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marL="0" marR="0" lvl="0" indent="0" algn="ctr" defTabSz="914400" eaLnBrk="1" fontAlgn="base" latinLnBrk="0" hangingPunct="1">
              <a:lnSpc>
                <a:spcPct val="100000"/>
              </a:lnSpc>
              <a:spcBef>
                <a:spcPct val="0"/>
              </a:spcBef>
              <a:spcAft>
                <a:spcPct val="0"/>
              </a:spcAft>
              <a:buClr>
                <a:srgbClr val="F0AB00"/>
              </a:buClr>
              <a:buSzPct val="80000"/>
              <a:tabLst/>
            </a:pPr>
            <a:endParaRPr kumimoji="0" lang="en-US" sz="2400" b="1" i="0" u="none" strike="noStrike" kern="0" cap="none" spc="0" normalizeH="0" baseline="0" noProof="0" err="1">
              <a:ln>
                <a:noFill/>
              </a:ln>
              <a:effectLst/>
              <a:uLnTx/>
              <a:uFillTx/>
              <a:latin typeface="Arial" panose="020B0604020202020204" pitchFamily="34" charset="0"/>
              <a:ea typeface="+mj-ea"/>
              <a:cs typeface="+mj-cs"/>
              <a:sym typeface="Arial" panose="020B0604020202020204" pitchFamily="34" charset="0"/>
            </a:endParaRPr>
          </a:p>
        </p:txBody>
      </p:sp>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9720000" cy="369332"/>
          </a:xfrm>
        </p:spPr>
        <p:txBody>
          <a:bodyPr/>
          <a:lstStyle/>
          <a:p>
            <a:r>
              <a:rPr lang="en-US" noProof="0"/>
              <a:t>Insert page title (sentence case)</a:t>
            </a:r>
            <a:endParaRPr lang="en-US"/>
          </a:p>
        </p:txBody>
      </p:sp>
      <p:pic>
        <p:nvPicPr>
          <p:cNvPr id="6" name="Picture 5" descr="C:\Users\i828132\AppData\Local\Microsoft\Windows\INetCache\Content.Word\BCfL_RGB_Black@4x.png">
            <a:extLst>
              <a:ext uri="{FF2B5EF4-FFF2-40B4-BE49-F238E27FC236}">
                <a16:creationId xmlns:a16="http://schemas.microsoft.com/office/drawing/2014/main" id="{BBC1E8CF-BF55-4683-9DB8-8C55798721DD}"/>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13728" y="330707"/>
            <a:ext cx="1223547" cy="750344"/>
          </a:xfrm>
          <a:prstGeom prst="rect">
            <a:avLst/>
          </a:prstGeom>
          <a:noFill/>
          <a:ln>
            <a:noFill/>
          </a:ln>
        </p:spPr>
      </p:pic>
    </p:spTree>
    <p:extLst>
      <p:ext uri="{BB962C8B-B14F-4D97-AF65-F5344CB8AC3E}">
        <p14:creationId xmlns:p14="http://schemas.microsoft.com/office/powerpoint/2010/main" val="2630481451"/>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10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1" name="Classification"/>
          <p:cNvSpPr txBox="1"/>
          <p:nvPr userDrawn="1"/>
        </p:nvSpPr>
        <p:spPr bwMode="black">
          <a:xfrm>
            <a:off x="2814655" y="6559834"/>
            <a:ext cx="381515"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INTERNAL</a:t>
            </a: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19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5" r:id="rId3"/>
    <p:sldLayoutId id="2147483741" r:id="rId4"/>
    <p:sldLayoutId id="2147483765" r:id="rId5"/>
    <p:sldLayoutId id="2147483767" r:id="rId6"/>
    <p:sldLayoutId id="2147483743" r:id="rId7"/>
    <p:sldLayoutId id="2147483774" r:id="rId8"/>
    <p:sldLayoutId id="2147483745" r:id="rId9"/>
    <p:sldLayoutId id="2147483760" r:id="rId10"/>
    <p:sldLayoutId id="2147483768" r:id="rId11"/>
    <p:sldLayoutId id="2147483769" r:id="rId12"/>
    <p:sldLayoutId id="2147483770" r:id="rId13"/>
    <p:sldLayoutId id="2147483744" r:id="rId14"/>
    <p:sldLayoutId id="2147483757" r:id="rId15"/>
    <p:sldLayoutId id="2147483748" r:id="rId16"/>
    <p:sldLayoutId id="2147483771" r:id="rId17"/>
    <p:sldLayoutId id="2147483763" r:id="rId18"/>
    <p:sldLayoutId id="2147483751" r:id="rId19"/>
    <p:sldLayoutId id="2147483756" r:id="rId20"/>
    <p:sldLayoutId id="2147483740" r:id="rId21"/>
    <p:sldLayoutId id="2147483754" r:id="rId22"/>
    <p:sldLayoutId id="2147483755" r:id="rId23"/>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195A"/>
        </a:solidFill>
        <a:effectLst/>
      </p:bgPr>
    </p:bg>
    <p:spTree>
      <p:nvGrpSpPr>
        <p:cNvPr id="1" name=""/>
        <p:cNvGrpSpPr/>
        <p:nvPr/>
      </p:nvGrpSpPr>
      <p:grpSpPr>
        <a:xfrm>
          <a:off x="0" y="0"/>
          <a:ext cx="0" cy="0"/>
          <a:chOff x="0" y="0"/>
          <a:chExt cx="0" cy="0"/>
        </a:xfrm>
      </p:grpSpPr>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
        <p:nvSpPr>
          <p:cNvPr id="13" name="Slide number">
            <a:extLst>
              <a:ext uri="{FF2B5EF4-FFF2-40B4-BE49-F238E27FC236}">
                <a16:creationId xmlns:a16="http://schemas.microsoft.com/office/drawing/2014/main" id="{6F6D7778-F272-4F12-ADD2-8AE6FF10DDDC}"/>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4" name="Classification">
            <a:extLst>
              <a:ext uri="{FF2B5EF4-FFF2-40B4-BE49-F238E27FC236}">
                <a16:creationId xmlns:a16="http://schemas.microsoft.com/office/drawing/2014/main" id="{4950D02E-DEA7-4F24-8212-FEEF73ED9421}"/>
              </a:ext>
            </a:extLst>
          </p:cNvPr>
          <p:cNvSpPr txBox="1"/>
          <p:nvPr userDrawn="1"/>
        </p:nvSpPr>
        <p:spPr bwMode="black">
          <a:xfrm>
            <a:off x="2814655" y="6559834"/>
            <a:ext cx="381515"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INTERNAL</a:t>
            </a:r>
          </a:p>
        </p:txBody>
      </p:sp>
      <p:sp>
        <p:nvSpPr>
          <p:cNvPr id="15" name="Copyright">
            <a:extLst>
              <a:ext uri="{FF2B5EF4-FFF2-40B4-BE49-F238E27FC236}">
                <a16:creationId xmlns:a16="http://schemas.microsoft.com/office/drawing/2014/main" id="{A507F817-5D47-4500-8930-FF4D058FA111}"/>
              </a:ext>
            </a:extLst>
          </p:cNvPr>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19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2031361106"/>
      </p:ext>
    </p:extLst>
  </p:cSld>
  <p:clrMap bg1="dk1" tx1="lt1" bg2="dk2" tx2="lt2" accent1="accent1" accent2="accent2" accent3="accent3" accent4="accent4" accent5="accent5" accent6="accent6" hlink="hlink" folHlink="folHlink"/>
  <p:sldLayoutIdLst>
    <p:sldLayoutId id="2147483789" r:id="rId1"/>
    <p:sldLayoutId id="2147483791" r:id="rId2"/>
    <p:sldLayoutId id="2147483798" r:id="rId3"/>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22.xml"/><Relationship Id="rId7" Type="http://schemas.openxmlformats.org/officeDocument/2006/relationships/image" Target="../media/image9.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18" Type="http://schemas.openxmlformats.org/officeDocument/2006/relationships/hyperlink" Target="https://jam4.sapjam.com/groups/PPE8Am1JUbihkc5Hz5ZTrV/documents/AkokJz2yzhr40gKqrXK1m2/video_viewer?_lightbox=true" TargetMode="External"/><Relationship Id="rId3" Type="http://schemas.openxmlformats.org/officeDocument/2006/relationships/tags" Target="../tags/tag24.xml"/><Relationship Id="rId21" Type="http://schemas.openxmlformats.org/officeDocument/2006/relationships/image" Target="../media/image20.png"/><Relationship Id="rId7" Type="http://schemas.openxmlformats.org/officeDocument/2006/relationships/image" Target="../media/image3.emf"/><Relationship Id="rId12" Type="http://schemas.openxmlformats.org/officeDocument/2006/relationships/image" Target="../media/image15.png"/><Relationship Id="rId17" Type="http://schemas.openxmlformats.org/officeDocument/2006/relationships/image" Target="../media/image18.png"/><Relationship Id="rId2" Type="http://schemas.openxmlformats.org/officeDocument/2006/relationships/tags" Target="../tags/tag23.xml"/><Relationship Id="rId16" Type="http://schemas.openxmlformats.org/officeDocument/2006/relationships/hyperlink" Target="https://jam4.sapjam.com/groups/PPE8Am1JUbihkc5Hz5ZTrV/documents/fNRgWO8uCyu3ZjBv9goZbU/video_viewer?_lightbox=true" TargetMode="External"/><Relationship Id="rId20" Type="http://schemas.openxmlformats.org/officeDocument/2006/relationships/hyperlink" Target="https://jam4.sapjam.com/groups/PPE8Am1JUbihkc5Hz5ZTrV/documents/jdE0R71VEzzIRw3UMvpX4y/video_viewer?_lightbox=true" TargetMode="External"/><Relationship Id="rId1" Type="http://schemas.openxmlformats.org/officeDocument/2006/relationships/vmlDrawing" Target="../drawings/vmlDrawing12.vml"/><Relationship Id="rId6" Type="http://schemas.openxmlformats.org/officeDocument/2006/relationships/oleObject" Target="../embeddings/oleObject12.bin"/><Relationship Id="rId11" Type="http://schemas.openxmlformats.org/officeDocument/2006/relationships/image" Target="../media/image14.png"/><Relationship Id="rId5" Type="http://schemas.openxmlformats.org/officeDocument/2006/relationships/notesSlide" Target="../notesSlides/notesSlide2.xml"/><Relationship Id="rId15" Type="http://schemas.openxmlformats.org/officeDocument/2006/relationships/image" Target="../media/image17.png"/><Relationship Id="rId23" Type="http://schemas.microsoft.com/office/2007/relationships/hdphoto" Target="../media/hdphoto1.wdp"/><Relationship Id="rId10" Type="http://schemas.openxmlformats.org/officeDocument/2006/relationships/image" Target="../media/image13.png"/><Relationship Id="rId19" Type="http://schemas.openxmlformats.org/officeDocument/2006/relationships/image" Target="../media/image19.png"/><Relationship Id="rId4" Type="http://schemas.openxmlformats.org/officeDocument/2006/relationships/slideLayout" Target="../slideLayouts/slideLayout7.xml"/><Relationship Id="rId9" Type="http://schemas.openxmlformats.org/officeDocument/2006/relationships/image" Target="../media/image12.png"/><Relationship Id="rId14" Type="http://schemas.openxmlformats.org/officeDocument/2006/relationships/hyperlink" Target="https://jam4.sapjam.com/groups/PPE8Am1JUbihkc5Hz5ZTrV/documents/OxXqdGDLZT7mk2tFozaio3/video_viewer?_lightbox=true" TargetMode="External"/><Relationship Id="rId22" Type="http://schemas.openxmlformats.org/officeDocument/2006/relationships/image" Target="../media/image21.pn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5.png"/><Relationship Id="rId3" Type="http://schemas.openxmlformats.org/officeDocument/2006/relationships/tags" Target="../tags/tag26.xml"/><Relationship Id="rId7" Type="http://schemas.openxmlformats.org/officeDocument/2006/relationships/image" Target="../media/image3.emf"/><Relationship Id="rId12" Type="http://schemas.openxmlformats.org/officeDocument/2006/relationships/image" Target="../media/image16.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image" Target="../media/image14.png"/><Relationship Id="rId5" Type="http://schemas.openxmlformats.org/officeDocument/2006/relationships/notesSlide" Target="../notesSlides/notesSlide3.xml"/><Relationship Id="rId10" Type="http://schemas.openxmlformats.org/officeDocument/2006/relationships/image" Target="../media/image13.png"/><Relationship Id="rId4" Type="http://schemas.openxmlformats.org/officeDocument/2006/relationships/slideLayout" Target="../slideLayouts/slideLayout7.xml"/><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18" Type="http://schemas.openxmlformats.org/officeDocument/2006/relationships/image" Target="../media/image21.png"/><Relationship Id="rId3" Type="http://schemas.openxmlformats.org/officeDocument/2006/relationships/tags" Target="../tags/tag28.xml"/><Relationship Id="rId7" Type="http://schemas.openxmlformats.org/officeDocument/2006/relationships/image" Target="../media/image3.emf"/><Relationship Id="rId12" Type="http://schemas.openxmlformats.org/officeDocument/2006/relationships/image" Target="../media/image15.png"/><Relationship Id="rId17" Type="http://schemas.openxmlformats.org/officeDocument/2006/relationships/image" Target="../media/image23.png"/><Relationship Id="rId2" Type="http://schemas.openxmlformats.org/officeDocument/2006/relationships/tags" Target="../tags/tag27.xml"/><Relationship Id="rId16" Type="http://schemas.openxmlformats.org/officeDocument/2006/relationships/hyperlink" Target="https://jam4.sapjam.com/groups/PPE8Am1JUbihkc5Hz5ZTrV/documents/ZBfcgXMDaJAAbOmv4c711J/video_viewer?_lightbox=true" TargetMode="Externa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14.png"/><Relationship Id="rId5" Type="http://schemas.openxmlformats.org/officeDocument/2006/relationships/notesSlide" Target="../notesSlides/notesSlide4.xml"/><Relationship Id="rId15" Type="http://schemas.openxmlformats.org/officeDocument/2006/relationships/image" Target="../media/image22.png"/><Relationship Id="rId10" Type="http://schemas.openxmlformats.org/officeDocument/2006/relationships/image" Target="../media/image13.png"/><Relationship Id="rId19" Type="http://schemas.microsoft.com/office/2007/relationships/hdphoto" Target="../media/hdphoto1.wdp"/><Relationship Id="rId4" Type="http://schemas.openxmlformats.org/officeDocument/2006/relationships/slideLayout" Target="../slideLayouts/slideLayout7.xml"/><Relationship Id="rId9" Type="http://schemas.openxmlformats.org/officeDocument/2006/relationships/image" Target="../media/image12.png"/><Relationship Id="rId14" Type="http://schemas.openxmlformats.org/officeDocument/2006/relationships/hyperlink" Target="https://jam4.sapjam.com/groups/PPE8Am1JUbihkc5Hz5ZTrV/documents/XfQWHJcIe4ca6DzAExRJ2y/video_viewer?_lightbox=true"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tags" Target="../tags/tag30.xml"/><Relationship Id="rId7" Type="http://schemas.openxmlformats.org/officeDocument/2006/relationships/image" Target="../media/image3.emf"/><Relationship Id="rId12" Type="http://schemas.openxmlformats.org/officeDocument/2006/relationships/image" Target="../media/image15.pn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oleObject" Target="../embeddings/oleObject15.bin"/><Relationship Id="rId11" Type="http://schemas.openxmlformats.org/officeDocument/2006/relationships/image" Target="../media/image14.png"/><Relationship Id="rId5" Type="http://schemas.openxmlformats.org/officeDocument/2006/relationships/notesSlide" Target="../notesSlides/notesSlide5.xml"/><Relationship Id="rId10" Type="http://schemas.openxmlformats.org/officeDocument/2006/relationships/image" Target="../media/image13.png"/><Relationship Id="rId4" Type="http://schemas.openxmlformats.org/officeDocument/2006/relationships/slideLayout" Target="../slideLayouts/slideLayout7.xml"/><Relationship Id="rId9" Type="http://schemas.openxmlformats.org/officeDocument/2006/relationships/image" Target="../media/image12.png"/></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hyperlink" Target="https://jam4.sapjam.com/groups/PPE8Am1JUbihkc5Hz5ZTrV/documents/joAZhTEanADbdAopDgym5m/video_viewer?_lightbox=true" TargetMode="External"/><Relationship Id="rId18" Type="http://schemas.openxmlformats.org/officeDocument/2006/relationships/image" Target="../media/image21.png"/><Relationship Id="rId3" Type="http://schemas.openxmlformats.org/officeDocument/2006/relationships/tags" Target="../tags/tag32.xml"/><Relationship Id="rId7" Type="http://schemas.openxmlformats.org/officeDocument/2006/relationships/image" Target="../media/image3.emf"/><Relationship Id="rId12" Type="http://schemas.openxmlformats.org/officeDocument/2006/relationships/image" Target="../media/image16.png"/><Relationship Id="rId17" Type="http://schemas.openxmlformats.org/officeDocument/2006/relationships/image" Target="../media/image15.png"/><Relationship Id="rId2" Type="http://schemas.openxmlformats.org/officeDocument/2006/relationships/tags" Target="../tags/tag31.xml"/><Relationship Id="rId16" Type="http://schemas.openxmlformats.org/officeDocument/2006/relationships/image" Target="../media/image25.png"/><Relationship Id="rId1" Type="http://schemas.openxmlformats.org/officeDocument/2006/relationships/vmlDrawing" Target="../drawings/vmlDrawing16.vml"/><Relationship Id="rId6" Type="http://schemas.openxmlformats.org/officeDocument/2006/relationships/oleObject" Target="../embeddings/oleObject16.bin"/><Relationship Id="rId11" Type="http://schemas.openxmlformats.org/officeDocument/2006/relationships/image" Target="../media/image14.png"/><Relationship Id="rId5" Type="http://schemas.openxmlformats.org/officeDocument/2006/relationships/notesSlide" Target="../notesSlides/notesSlide6.xml"/><Relationship Id="rId15" Type="http://schemas.openxmlformats.org/officeDocument/2006/relationships/hyperlink" Target="https://jam4.sapjam.com/groups/PPE8Am1JUbihkc5Hz5ZTrV/documents/knrJqoouqI9Mx90ctW1ZH4/video_viewer?_lightbox=true" TargetMode="External"/><Relationship Id="rId10" Type="http://schemas.openxmlformats.org/officeDocument/2006/relationships/image" Target="../media/image13.png"/><Relationship Id="rId19" Type="http://schemas.microsoft.com/office/2007/relationships/hdphoto" Target="../media/hdphoto1.wdp"/><Relationship Id="rId4" Type="http://schemas.openxmlformats.org/officeDocument/2006/relationships/slideLayout" Target="../slideLayouts/slideLayout7.xml"/><Relationship Id="rId9" Type="http://schemas.openxmlformats.org/officeDocument/2006/relationships/image" Target="../media/image12.png"/><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hyperlink" Target="https://sapedia.int.sap/wiki/Category:Harmonized_Customer_Service_Management" TargetMode="External"/><Relationship Id="rId2" Type="http://schemas.openxmlformats.org/officeDocument/2006/relationships/hyperlink" Target="https://jam4.sapjam.com/groups/PPE8Am1JUbihkc5Hz5ZTrV/overview_page/KoUrKZTQ1AKOMzRgMP5dJj?edit_mode=true" TargetMode="External"/><Relationship Id="rId1" Type="http://schemas.openxmlformats.org/officeDocument/2006/relationships/slideLayout" Target="../slideLayouts/slideLayout4.xml"/><Relationship Id="rId4" Type="http://schemas.openxmlformats.org/officeDocument/2006/relationships/hyperlink" Target="http://www.sapterm.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AE1740-FF19-45E2-82C5-A42FD6A7A283}"/>
              </a:ext>
            </a:extLst>
          </p:cNvPr>
          <p:cNvGraphicFramePr>
            <a:graphicFrameLocks noChangeAspect="1"/>
          </p:cNvGraphicFramePr>
          <p:nvPr>
            <p:custDataLst>
              <p:tags r:id="rId2"/>
            </p:custDataLst>
            <p:extLst>
              <p:ext uri="{D42A27DB-BD31-4B8C-83A1-F6EECF244321}">
                <p14:modId xmlns:p14="http://schemas.microsoft.com/office/powerpoint/2010/main" val="269640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6" imgW="624" imgH="623" progId="TCLayout.ActiveDocument.1">
                  <p:embed/>
                </p:oleObj>
              </mc:Choice>
              <mc:Fallback>
                <p:oleObj name="think-cell Slide" r:id="rId6" imgW="624" imgH="623" progId="TCLayout.ActiveDocument.1">
                  <p:embed/>
                  <p:pic>
                    <p:nvPicPr>
                      <p:cNvPr id="3" name="Object 2" hidden="1">
                        <a:extLst>
                          <a:ext uri="{FF2B5EF4-FFF2-40B4-BE49-F238E27FC236}">
                            <a16:creationId xmlns:a16="http://schemas.microsoft.com/office/drawing/2014/main" id="{75AE1740-FF19-45E2-82C5-A42FD6A7A2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3D9F170-CA8D-42CD-9830-D9EBEFE9BB14}"/>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lnSpc>
                <a:spcPct val="90000"/>
              </a:lnSpc>
              <a:spcBef>
                <a:spcPct val="0"/>
              </a:spcBef>
              <a:spcAft>
                <a:spcPct val="0"/>
              </a:spcAft>
              <a:buClr>
                <a:srgbClr val="F0AB00"/>
              </a:buClr>
              <a:buSzPct val="80000"/>
            </a:pPr>
            <a:endParaRPr kumimoji="0" lang="en-US" sz="3600" b="1" u="none" strike="noStrike" kern="0" cap="none" spc="0" normalizeH="0" noProof="0" err="1">
              <a:ln>
                <a:noFill/>
              </a:ln>
              <a:effectLst/>
              <a:uLnTx/>
              <a:uFillTx/>
              <a:latin typeface="Arial" panose="020B0604020202020204" pitchFamily="34" charset="0"/>
              <a:sym typeface="Arial" panose="020B0604020202020204" pitchFamily="34" charset="0"/>
            </a:endParaRPr>
          </a:p>
        </p:txBody>
      </p:sp>
      <p:sp>
        <p:nvSpPr>
          <p:cNvPr id="35" name="Speaker"/>
          <p:cNvSpPr>
            <a:spLocks noGrp="1"/>
          </p:cNvSpPr>
          <p:nvPr>
            <p:ph type="subTitle" idx="1"/>
          </p:nvPr>
        </p:nvSpPr>
        <p:spPr bwMode="gray"/>
        <p:txBody>
          <a:bodyPr/>
          <a:lstStyle/>
          <a:p>
            <a:r>
              <a:rPr lang="en-US"/>
              <a:t>Owner: OCM</a:t>
            </a:r>
          </a:p>
          <a:p>
            <a:pPr lvl="0"/>
            <a:r>
              <a:rPr lang="en-US"/>
              <a:t>March, 2019</a:t>
            </a:r>
          </a:p>
        </p:txBody>
      </p:sp>
      <p:sp>
        <p:nvSpPr>
          <p:cNvPr id="8" name="Presentation Title"/>
          <p:cNvSpPr>
            <a:spLocks noGrp="1"/>
          </p:cNvSpPr>
          <p:nvPr>
            <p:ph type="title"/>
          </p:nvPr>
        </p:nvSpPr>
        <p:spPr bwMode="gray">
          <a:xfrm>
            <a:off x="288000" y="4024430"/>
            <a:ext cx="10899174" cy="997196"/>
          </a:xfrm>
        </p:spPr>
        <p:txBody>
          <a:bodyPr/>
          <a:lstStyle/>
          <a:p>
            <a:r>
              <a:rPr lang="en-US"/>
              <a:t>Quick Reference Card</a:t>
            </a:r>
            <a:br>
              <a:rPr lang="en-US"/>
            </a:br>
            <a:r>
              <a:rPr lang="en-US" sz="2800">
                <a:solidFill>
                  <a:schemeClr val="accent1"/>
                </a:solidFill>
              </a:rPr>
              <a:t>Harmonized Customer Service Management Terminology</a:t>
            </a:r>
            <a:endParaRPr lang="de-DE">
              <a:solidFill>
                <a:schemeClr val="accent1"/>
              </a:solidFill>
            </a:endParaRPr>
          </a:p>
        </p:txBody>
      </p:sp>
      <p:pic>
        <p:nvPicPr>
          <p:cNvPr id="10" name="Title Image Placeholder">
            <a:extLst>
              <a:ext uri="{FF2B5EF4-FFF2-40B4-BE49-F238E27FC236}">
                <a16:creationId xmlns:a16="http://schemas.microsoft.com/office/drawing/2014/main" id="{6ABE7D25-3386-4720-A94E-81D3F455A4C9}"/>
              </a:ext>
            </a:extLst>
          </p:cNvPr>
          <p:cNvPicPr>
            <a:picLocks noGrp="1" noChangeAspect="1"/>
          </p:cNvPicPr>
          <p:nvPr>
            <p:ph type="pic" sz="quarter" idx="12"/>
          </p:nvPr>
        </p:nvPicPr>
        <p:blipFill rotWithShape="1">
          <a:blip r:embed="rId8" cstate="screen">
            <a:extLst>
              <a:ext uri="{28A0092B-C50C-407E-A947-70E740481C1C}">
                <a14:useLocalDpi xmlns:a14="http://schemas.microsoft.com/office/drawing/2010/main"/>
              </a:ext>
            </a:extLst>
          </a:blip>
          <a:srcRect l="55" r="55"/>
          <a:stretch/>
        </p:blipFill>
        <p:spPr>
          <a:prstGeom prst="rect">
            <a:avLst/>
          </a:prstGeom>
        </p:spPr>
      </p:pic>
    </p:spTree>
    <p:extLst>
      <p:ext uri="{BB962C8B-B14F-4D97-AF65-F5344CB8AC3E}">
        <p14:creationId xmlns:p14="http://schemas.microsoft.com/office/powerpoint/2010/main" val="32621794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4DB7E13-390E-4A80-A1DA-DFC006E3F191}"/>
              </a:ext>
            </a:extLst>
          </p:cNvPr>
          <p:cNvSpPr>
            <a:spLocks noGrp="1"/>
          </p:cNvSpPr>
          <p:nvPr>
            <p:ph type="body" sz="quarter" idx="10"/>
          </p:nvPr>
        </p:nvSpPr>
        <p:spPr/>
        <p:txBody>
          <a:bodyPr/>
          <a:lstStyle/>
          <a:p>
            <a:r>
              <a:rPr lang="en-US"/>
              <a:t>The terminologies explained in this Quick Reference Card focus mainly on the Minimum Viable Product (MVP) for the Harmonized Customer Service Management (HCSM) project.</a:t>
            </a:r>
          </a:p>
          <a:p>
            <a:r>
              <a:rPr lang="en-US"/>
              <a:t>Definitions in the Quick Reference Card have been adjusted to the context of the HCSM project and may evolve and change as the project scope develops and expands.</a:t>
            </a:r>
          </a:p>
        </p:txBody>
      </p:sp>
      <p:sp>
        <p:nvSpPr>
          <p:cNvPr id="3" name="Title 2">
            <a:extLst>
              <a:ext uri="{FF2B5EF4-FFF2-40B4-BE49-F238E27FC236}">
                <a16:creationId xmlns:a16="http://schemas.microsoft.com/office/drawing/2014/main" id="{C1124372-2255-4523-B678-40B7CD4901E0}"/>
              </a:ext>
            </a:extLst>
          </p:cNvPr>
          <p:cNvSpPr>
            <a:spLocks noGrp="1"/>
          </p:cNvSpPr>
          <p:nvPr>
            <p:ph type="title"/>
          </p:nvPr>
        </p:nvSpPr>
        <p:spPr/>
        <p:txBody>
          <a:bodyPr/>
          <a:lstStyle/>
          <a:p>
            <a:r>
              <a:rPr lang="en-US"/>
              <a:t>Disclaimer</a:t>
            </a:r>
          </a:p>
        </p:txBody>
      </p:sp>
    </p:spTree>
    <p:extLst>
      <p:ext uri="{BB962C8B-B14F-4D97-AF65-F5344CB8AC3E}">
        <p14:creationId xmlns:p14="http://schemas.microsoft.com/office/powerpoint/2010/main" val="23288605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05B5FF9-9B22-4FFF-B41D-0F63D084F0F0}"/>
              </a:ext>
            </a:extLst>
          </p:cNvPr>
          <p:cNvGraphicFramePr>
            <a:graphicFrameLocks noChangeAspect="1"/>
          </p:cNvGraphicFramePr>
          <p:nvPr>
            <p:custDataLst>
              <p:tags r:id="rId2"/>
            </p:custDataLst>
            <p:extLst>
              <p:ext uri="{D42A27DB-BD31-4B8C-83A1-F6EECF244321}">
                <p14:modId xmlns:p14="http://schemas.microsoft.com/office/powerpoint/2010/main" val="1378420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6" imgW="395" imgH="396" progId="TCLayout.ActiveDocument.1">
                  <p:embed/>
                </p:oleObj>
              </mc:Choice>
              <mc:Fallback>
                <p:oleObj name="think-cell Slide" r:id="rId6" imgW="395" imgH="396" progId="TCLayout.ActiveDocument.1">
                  <p:embed/>
                  <p:pic>
                    <p:nvPicPr>
                      <p:cNvPr id="4" name="Object 3" hidden="1">
                        <a:extLst>
                          <a:ext uri="{FF2B5EF4-FFF2-40B4-BE49-F238E27FC236}">
                            <a16:creationId xmlns:a16="http://schemas.microsoft.com/office/drawing/2014/main" id="{205B5FF9-9B22-4FFF-B41D-0F63D084F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53C733-5B66-41A2-AC5F-9C8B7DCDE77F}"/>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en-US" sz="2400" b="1" u="none" strike="noStrike" kern="0" cap="none" spc="0" normalizeH="0" noProof="0">
              <a:ln>
                <a:noFill/>
              </a:ln>
              <a:effectLst/>
              <a:uLnTx/>
              <a:uFillTx/>
              <a:latin typeface="Arial" panose="020B0604020202020204" pitchFamily="34" charset="0"/>
              <a:ea typeface="+mj-ea"/>
              <a:cs typeface="+mj-cs"/>
              <a:sym typeface="Arial" panose="020B0604020202020204" pitchFamily="34" charset="0"/>
            </a:endParaRPr>
          </a:p>
        </p:txBody>
      </p:sp>
      <p:sp>
        <p:nvSpPr>
          <p:cNvPr id="24" name="Title"/>
          <p:cNvSpPr>
            <a:spLocks noGrp="1"/>
          </p:cNvSpPr>
          <p:nvPr>
            <p:ph type="title"/>
          </p:nvPr>
        </p:nvSpPr>
        <p:spPr bwMode="gray">
          <a:xfrm>
            <a:off x="504001" y="504000"/>
            <a:ext cx="9720000" cy="369332"/>
          </a:xfrm>
        </p:spPr>
        <p:txBody>
          <a:bodyPr/>
          <a:lstStyle/>
          <a:p>
            <a:r>
              <a:rPr lang="en-US"/>
              <a:t>Harmonized Customer Service Management (HCSM) Terminology</a:t>
            </a:r>
          </a:p>
        </p:txBody>
      </p:sp>
      <p:sp>
        <p:nvSpPr>
          <p:cNvPr id="22" name="Rectangle 21">
            <a:extLst>
              <a:ext uri="{FF2B5EF4-FFF2-40B4-BE49-F238E27FC236}">
                <a16:creationId xmlns:a16="http://schemas.microsoft.com/office/drawing/2014/main" id="{1A15397A-139C-4968-9BFE-F6ABEB7110D5}"/>
              </a:ext>
            </a:extLst>
          </p:cNvPr>
          <p:cNvSpPr/>
          <p:nvPr/>
        </p:nvSpPr>
        <p:spPr>
          <a:xfrm>
            <a:off x="309489" y="1867439"/>
            <a:ext cx="3634896" cy="430887"/>
          </a:xfrm>
          <a:prstGeom prst="rect">
            <a:avLst/>
          </a:prstGeom>
        </p:spPr>
        <p:txBody>
          <a:bodyPr wrap="square" anchor="t">
            <a:spAutoFit/>
          </a:bodyPr>
          <a:lstStyle/>
          <a:p>
            <a:pPr defTabSz="914400"/>
            <a:r>
              <a:rPr lang="en-US" sz="1100">
                <a:solidFill>
                  <a:srgbClr val="000000"/>
                </a:solidFill>
                <a:ea typeface="ＭＳ Ｐゴシック"/>
              </a:rPr>
              <a:t>This document explains the terms </a:t>
            </a:r>
            <a:r>
              <a:rPr lang="en-US" sz="1100" b="1">
                <a:solidFill>
                  <a:srgbClr val="000000"/>
                </a:solidFill>
                <a:ea typeface="ＭＳ Ｐゴシック"/>
              </a:rPr>
              <a:t>Case Record, Incident Record, and Case/Incident Management</a:t>
            </a:r>
            <a:r>
              <a:rPr lang="en-US" sz="1100">
                <a:solidFill>
                  <a:srgbClr val="000000"/>
                </a:solidFill>
                <a:ea typeface="ＭＳ Ｐゴシック"/>
              </a:rPr>
              <a:t>.</a:t>
            </a:r>
            <a:endParaRPr lang="en-US" sz="1100">
              <a:solidFill>
                <a:srgbClr val="000000"/>
              </a:solidFill>
              <a:ea typeface="ＭＳ Ｐゴシック" pitchFamily="34" charset="-128"/>
            </a:endParaRPr>
          </a:p>
        </p:txBody>
      </p:sp>
      <p:sp>
        <p:nvSpPr>
          <p:cNvPr id="23" name="Rectangle 22">
            <a:extLst>
              <a:ext uri="{FF2B5EF4-FFF2-40B4-BE49-F238E27FC236}">
                <a16:creationId xmlns:a16="http://schemas.microsoft.com/office/drawing/2014/main" id="{5BD93C33-1D0D-495A-B7BA-8F4B366EE2C2}"/>
              </a:ext>
            </a:extLst>
          </p:cNvPr>
          <p:cNvSpPr/>
          <p:nvPr/>
        </p:nvSpPr>
        <p:spPr>
          <a:xfrm>
            <a:off x="334347" y="3782140"/>
            <a:ext cx="3500247" cy="261610"/>
          </a:xfrm>
          <a:prstGeom prst="rect">
            <a:avLst/>
          </a:prstGeom>
        </p:spPr>
        <p:txBody>
          <a:bodyPr wrap="square" anchor="t">
            <a:spAutoFit/>
          </a:bodyPr>
          <a:lstStyle/>
          <a:p>
            <a:pPr defTabSz="914400"/>
            <a:endParaRPr lang="en-US" sz="1100">
              <a:ea typeface="ＭＳ Ｐゴシック"/>
              <a:cs typeface="Arial"/>
            </a:endParaRPr>
          </a:p>
        </p:txBody>
      </p:sp>
      <p:sp>
        <p:nvSpPr>
          <p:cNvPr id="25" name="Rectangle 24">
            <a:extLst>
              <a:ext uri="{FF2B5EF4-FFF2-40B4-BE49-F238E27FC236}">
                <a16:creationId xmlns:a16="http://schemas.microsoft.com/office/drawing/2014/main" id="{0F7FA3AC-2E37-4C1D-899F-43D804EDA184}"/>
              </a:ext>
            </a:extLst>
          </p:cNvPr>
          <p:cNvSpPr/>
          <p:nvPr/>
        </p:nvSpPr>
        <p:spPr>
          <a:xfrm>
            <a:off x="373521" y="2875383"/>
            <a:ext cx="2921113" cy="261610"/>
          </a:xfrm>
          <a:prstGeom prst="rect">
            <a:avLst/>
          </a:prstGeom>
        </p:spPr>
        <p:txBody>
          <a:bodyPr wrap="square" anchor="t">
            <a:spAutoFit/>
          </a:bodyPr>
          <a:lstStyle/>
          <a:p>
            <a:pPr defTabSz="914400">
              <a:buClr>
                <a:srgbClr val="003068"/>
              </a:buClr>
            </a:pPr>
            <a:r>
              <a:rPr lang="en-US" sz="1100">
                <a:solidFill>
                  <a:srgbClr val="000000"/>
                </a:solidFill>
                <a:ea typeface="ＭＳ Ｐゴシック"/>
              </a:rPr>
              <a:t>Support, Development, and Operations</a:t>
            </a:r>
          </a:p>
        </p:txBody>
      </p:sp>
      <p:cxnSp>
        <p:nvCxnSpPr>
          <p:cNvPr id="26" name="Straight Connector 25">
            <a:extLst>
              <a:ext uri="{FF2B5EF4-FFF2-40B4-BE49-F238E27FC236}">
                <a16:creationId xmlns:a16="http://schemas.microsoft.com/office/drawing/2014/main" id="{4DDE0BC5-D2CC-4A9F-B156-8FEBE451986D}"/>
              </a:ext>
            </a:extLst>
          </p:cNvPr>
          <p:cNvCxnSpPr>
            <a:cxnSpLocks/>
          </p:cNvCxnSpPr>
          <p:nvPr/>
        </p:nvCxnSpPr>
        <p:spPr>
          <a:xfrm>
            <a:off x="4052248" y="1075408"/>
            <a:ext cx="24466" cy="5474056"/>
          </a:xfrm>
          <a:prstGeom prst="line">
            <a:avLst/>
          </a:prstGeom>
          <a:ln w="6350">
            <a:solidFill>
              <a:srgbClr val="0095D3">
                <a:alpha val="50000"/>
              </a:srgb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44BFDF2-6F65-4134-ADA9-E8F6643D24A6}"/>
              </a:ext>
            </a:extLst>
          </p:cNvPr>
          <p:cNvCxnSpPr>
            <a:cxnSpLocks/>
          </p:cNvCxnSpPr>
          <p:nvPr/>
        </p:nvCxnSpPr>
        <p:spPr>
          <a:xfrm>
            <a:off x="7999722" y="1069374"/>
            <a:ext cx="24466" cy="5474056"/>
          </a:xfrm>
          <a:prstGeom prst="line">
            <a:avLst/>
          </a:prstGeom>
          <a:ln w="6350">
            <a:solidFill>
              <a:srgbClr val="0095D3">
                <a:alpha val="50000"/>
              </a:srgb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758CF31-74D6-4044-B856-556C9E2081FD}"/>
              </a:ext>
            </a:extLst>
          </p:cNvPr>
          <p:cNvSpPr txBox="1"/>
          <p:nvPr/>
        </p:nvSpPr>
        <p:spPr>
          <a:xfrm>
            <a:off x="940596" y="1179874"/>
            <a:ext cx="1605995" cy="3600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Description</a:t>
            </a:r>
            <a:endParaRPr lang="en-US" sz="1800">
              <a:solidFill>
                <a:srgbClr val="717074"/>
              </a:solidFill>
            </a:endParaRPr>
          </a:p>
        </p:txBody>
      </p:sp>
      <p:grpSp>
        <p:nvGrpSpPr>
          <p:cNvPr id="31" name="Group 30">
            <a:extLst>
              <a:ext uri="{FF2B5EF4-FFF2-40B4-BE49-F238E27FC236}">
                <a16:creationId xmlns:a16="http://schemas.microsoft.com/office/drawing/2014/main" id="{661D79AC-0556-4189-96B2-BBF3BA0DFC47}"/>
              </a:ext>
            </a:extLst>
          </p:cNvPr>
          <p:cNvGrpSpPr>
            <a:grpSpLocks noChangeAspect="1"/>
          </p:cNvGrpSpPr>
          <p:nvPr/>
        </p:nvGrpSpPr>
        <p:grpSpPr>
          <a:xfrm>
            <a:off x="630255" y="1210507"/>
            <a:ext cx="416203" cy="317631"/>
            <a:chOff x="3494088" y="5276851"/>
            <a:chExt cx="939801" cy="839788"/>
          </a:xfrm>
          <a:solidFill>
            <a:schemeClr val="bg1"/>
          </a:solidFill>
        </p:grpSpPr>
        <p:sp>
          <p:nvSpPr>
            <p:cNvPr id="32" name="Freeform 1961">
              <a:extLst>
                <a:ext uri="{FF2B5EF4-FFF2-40B4-BE49-F238E27FC236}">
                  <a16:creationId xmlns:a16="http://schemas.microsoft.com/office/drawing/2014/main" id="{BD0ED1A1-6215-4E00-92FD-EA257CE3808A}"/>
                </a:ext>
              </a:extLst>
            </p:cNvPr>
            <p:cNvSpPr>
              <a:spLocks/>
            </p:cNvSpPr>
            <p:nvPr/>
          </p:nvSpPr>
          <p:spPr bwMode="auto">
            <a:xfrm>
              <a:off x="3494088" y="5276851"/>
              <a:ext cx="687388" cy="839788"/>
            </a:xfrm>
            <a:custGeom>
              <a:avLst/>
              <a:gdLst>
                <a:gd name="T0" fmla="*/ 401 w 433"/>
                <a:gd name="T1" fmla="*/ 370 h 529"/>
                <a:gd name="T2" fmla="*/ 401 w 433"/>
                <a:gd name="T3" fmla="*/ 473 h 529"/>
                <a:gd name="T4" fmla="*/ 399 w 433"/>
                <a:gd name="T5" fmla="*/ 482 h 529"/>
                <a:gd name="T6" fmla="*/ 394 w 433"/>
                <a:gd name="T7" fmla="*/ 490 h 529"/>
                <a:gd name="T8" fmla="*/ 386 w 433"/>
                <a:gd name="T9" fmla="*/ 495 h 529"/>
                <a:gd name="T10" fmla="*/ 376 w 433"/>
                <a:gd name="T11" fmla="*/ 497 h 529"/>
                <a:gd name="T12" fmla="*/ 57 w 433"/>
                <a:gd name="T13" fmla="*/ 497 h 529"/>
                <a:gd name="T14" fmla="*/ 47 w 433"/>
                <a:gd name="T15" fmla="*/ 495 h 529"/>
                <a:gd name="T16" fmla="*/ 40 w 433"/>
                <a:gd name="T17" fmla="*/ 490 h 529"/>
                <a:gd name="T18" fmla="*/ 35 w 433"/>
                <a:gd name="T19" fmla="*/ 482 h 529"/>
                <a:gd name="T20" fmla="*/ 33 w 433"/>
                <a:gd name="T21" fmla="*/ 473 h 529"/>
                <a:gd name="T22" fmla="*/ 33 w 433"/>
                <a:gd name="T23" fmla="*/ 56 h 529"/>
                <a:gd name="T24" fmla="*/ 35 w 433"/>
                <a:gd name="T25" fmla="*/ 47 h 529"/>
                <a:gd name="T26" fmla="*/ 40 w 433"/>
                <a:gd name="T27" fmla="*/ 39 h 529"/>
                <a:gd name="T28" fmla="*/ 47 w 433"/>
                <a:gd name="T29" fmla="*/ 34 h 529"/>
                <a:gd name="T30" fmla="*/ 57 w 433"/>
                <a:gd name="T31" fmla="*/ 32 h 529"/>
                <a:gd name="T32" fmla="*/ 376 w 433"/>
                <a:gd name="T33" fmla="*/ 32 h 529"/>
                <a:gd name="T34" fmla="*/ 386 w 433"/>
                <a:gd name="T35" fmla="*/ 34 h 529"/>
                <a:gd name="T36" fmla="*/ 394 w 433"/>
                <a:gd name="T37" fmla="*/ 39 h 529"/>
                <a:gd name="T38" fmla="*/ 399 w 433"/>
                <a:gd name="T39" fmla="*/ 47 h 529"/>
                <a:gd name="T40" fmla="*/ 401 w 433"/>
                <a:gd name="T41" fmla="*/ 56 h 529"/>
                <a:gd name="T42" fmla="*/ 401 w 433"/>
                <a:gd name="T43" fmla="*/ 192 h 529"/>
                <a:gd name="T44" fmla="*/ 433 w 433"/>
                <a:gd name="T45" fmla="*/ 169 h 529"/>
                <a:gd name="T46" fmla="*/ 433 w 433"/>
                <a:gd name="T47" fmla="*/ 56 h 529"/>
                <a:gd name="T48" fmla="*/ 430 w 433"/>
                <a:gd name="T49" fmla="*/ 39 h 529"/>
                <a:gd name="T50" fmla="*/ 422 w 433"/>
                <a:gd name="T51" fmla="*/ 23 h 529"/>
                <a:gd name="T52" fmla="*/ 410 w 433"/>
                <a:gd name="T53" fmla="*/ 11 h 529"/>
                <a:gd name="T54" fmla="*/ 394 w 433"/>
                <a:gd name="T55" fmla="*/ 3 h 529"/>
                <a:gd name="T56" fmla="*/ 376 w 433"/>
                <a:gd name="T57" fmla="*/ 0 h 529"/>
                <a:gd name="T58" fmla="*/ 57 w 433"/>
                <a:gd name="T59" fmla="*/ 0 h 529"/>
                <a:gd name="T60" fmla="*/ 39 w 433"/>
                <a:gd name="T61" fmla="*/ 3 h 529"/>
                <a:gd name="T62" fmla="*/ 24 w 433"/>
                <a:gd name="T63" fmla="*/ 11 h 529"/>
                <a:gd name="T64" fmla="*/ 11 w 433"/>
                <a:gd name="T65" fmla="*/ 23 h 529"/>
                <a:gd name="T66" fmla="*/ 3 w 433"/>
                <a:gd name="T67" fmla="*/ 39 h 529"/>
                <a:gd name="T68" fmla="*/ 0 w 433"/>
                <a:gd name="T69" fmla="*/ 56 h 529"/>
                <a:gd name="T70" fmla="*/ 0 w 433"/>
                <a:gd name="T71" fmla="*/ 473 h 529"/>
                <a:gd name="T72" fmla="*/ 3 w 433"/>
                <a:gd name="T73" fmla="*/ 490 h 529"/>
                <a:gd name="T74" fmla="*/ 11 w 433"/>
                <a:gd name="T75" fmla="*/ 506 h 529"/>
                <a:gd name="T76" fmla="*/ 24 w 433"/>
                <a:gd name="T77" fmla="*/ 518 h 529"/>
                <a:gd name="T78" fmla="*/ 39 w 433"/>
                <a:gd name="T79" fmla="*/ 526 h 529"/>
                <a:gd name="T80" fmla="*/ 57 w 433"/>
                <a:gd name="T81" fmla="*/ 529 h 529"/>
                <a:gd name="T82" fmla="*/ 376 w 433"/>
                <a:gd name="T83" fmla="*/ 529 h 529"/>
                <a:gd name="T84" fmla="*/ 394 w 433"/>
                <a:gd name="T85" fmla="*/ 526 h 529"/>
                <a:gd name="T86" fmla="*/ 410 w 433"/>
                <a:gd name="T87" fmla="*/ 518 h 529"/>
                <a:gd name="T88" fmla="*/ 422 w 433"/>
                <a:gd name="T89" fmla="*/ 506 h 529"/>
                <a:gd name="T90" fmla="*/ 430 w 433"/>
                <a:gd name="T91" fmla="*/ 490 h 529"/>
                <a:gd name="T92" fmla="*/ 433 w 433"/>
                <a:gd name="T93" fmla="*/ 473 h 529"/>
                <a:gd name="T94" fmla="*/ 433 w 433"/>
                <a:gd name="T95" fmla="*/ 346 h 529"/>
                <a:gd name="T96" fmla="*/ 401 w 433"/>
                <a:gd name="T97" fmla="*/ 37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3" h="529">
                  <a:moveTo>
                    <a:pt x="401" y="370"/>
                  </a:moveTo>
                  <a:lnTo>
                    <a:pt x="401" y="473"/>
                  </a:lnTo>
                  <a:lnTo>
                    <a:pt x="399" y="482"/>
                  </a:lnTo>
                  <a:lnTo>
                    <a:pt x="394" y="490"/>
                  </a:lnTo>
                  <a:lnTo>
                    <a:pt x="386" y="495"/>
                  </a:lnTo>
                  <a:lnTo>
                    <a:pt x="376" y="497"/>
                  </a:lnTo>
                  <a:lnTo>
                    <a:pt x="57" y="497"/>
                  </a:lnTo>
                  <a:lnTo>
                    <a:pt x="47" y="495"/>
                  </a:lnTo>
                  <a:lnTo>
                    <a:pt x="40" y="490"/>
                  </a:lnTo>
                  <a:lnTo>
                    <a:pt x="35" y="482"/>
                  </a:lnTo>
                  <a:lnTo>
                    <a:pt x="33" y="473"/>
                  </a:lnTo>
                  <a:lnTo>
                    <a:pt x="33" y="56"/>
                  </a:lnTo>
                  <a:lnTo>
                    <a:pt x="35" y="47"/>
                  </a:lnTo>
                  <a:lnTo>
                    <a:pt x="40" y="39"/>
                  </a:lnTo>
                  <a:lnTo>
                    <a:pt x="47" y="34"/>
                  </a:lnTo>
                  <a:lnTo>
                    <a:pt x="57" y="32"/>
                  </a:lnTo>
                  <a:lnTo>
                    <a:pt x="376" y="32"/>
                  </a:lnTo>
                  <a:lnTo>
                    <a:pt x="386" y="34"/>
                  </a:lnTo>
                  <a:lnTo>
                    <a:pt x="394" y="39"/>
                  </a:lnTo>
                  <a:lnTo>
                    <a:pt x="399" y="47"/>
                  </a:lnTo>
                  <a:lnTo>
                    <a:pt x="401" y="56"/>
                  </a:lnTo>
                  <a:lnTo>
                    <a:pt x="401" y="192"/>
                  </a:lnTo>
                  <a:lnTo>
                    <a:pt x="433" y="169"/>
                  </a:lnTo>
                  <a:lnTo>
                    <a:pt x="433" y="56"/>
                  </a:lnTo>
                  <a:lnTo>
                    <a:pt x="430" y="39"/>
                  </a:lnTo>
                  <a:lnTo>
                    <a:pt x="422" y="23"/>
                  </a:lnTo>
                  <a:lnTo>
                    <a:pt x="410" y="11"/>
                  </a:lnTo>
                  <a:lnTo>
                    <a:pt x="394" y="3"/>
                  </a:lnTo>
                  <a:lnTo>
                    <a:pt x="376" y="0"/>
                  </a:lnTo>
                  <a:lnTo>
                    <a:pt x="57" y="0"/>
                  </a:lnTo>
                  <a:lnTo>
                    <a:pt x="39" y="3"/>
                  </a:lnTo>
                  <a:lnTo>
                    <a:pt x="24" y="11"/>
                  </a:lnTo>
                  <a:lnTo>
                    <a:pt x="11" y="23"/>
                  </a:lnTo>
                  <a:lnTo>
                    <a:pt x="3" y="39"/>
                  </a:lnTo>
                  <a:lnTo>
                    <a:pt x="0" y="56"/>
                  </a:lnTo>
                  <a:lnTo>
                    <a:pt x="0" y="473"/>
                  </a:lnTo>
                  <a:lnTo>
                    <a:pt x="3" y="490"/>
                  </a:lnTo>
                  <a:lnTo>
                    <a:pt x="11" y="506"/>
                  </a:lnTo>
                  <a:lnTo>
                    <a:pt x="24" y="518"/>
                  </a:lnTo>
                  <a:lnTo>
                    <a:pt x="39" y="526"/>
                  </a:lnTo>
                  <a:lnTo>
                    <a:pt x="57" y="529"/>
                  </a:lnTo>
                  <a:lnTo>
                    <a:pt x="376" y="529"/>
                  </a:lnTo>
                  <a:lnTo>
                    <a:pt x="394" y="526"/>
                  </a:lnTo>
                  <a:lnTo>
                    <a:pt x="410" y="518"/>
                  </a:lnTo>
                  <a:lnTo>
                    <a:pt x="422" y="506"/>
                  </a:lnTo>
                  <a:lnTo>
                    <a:pt x="430" y="490"/>
                  </a:lnTo>
                  <a:lnTo>
                    <a:pt x="433" y="473"/>
                  </a:lnTo>
                  <a:lnTo>
                    <a:pt x="433" y="346"/>
                  </a:lnTo>
                  <a:lnTo>
                    <a:pt x="401" y="3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3" name="Freeform 1962">
              <a:extLst>
                <a:ext uri="{FF2B5EF4-FFF2-40B4-BE49-F238E27FC236}">
                  <a16:creationId xmlns:a16="http://schemas.microsoft.com/office/drawing/2014/main" id="{CDFE449F-26EC-4FF6-BD98-56F1CDD47373}"/>
                </a:ext>
              </a:extLst>
            </p:cNvPr>
            <p:cNvSpPr>
              <a:spLocks noEditPoints="1"/>
            </p:cNvSpPr>
            <p:nvPr/>
          </p:nvSpPr>
          <p:spPr bwMode="auto">
            <a:xfrm>
              <a:off x="3965576" y="5475288"/>
              <a:ext cx="468313" cy="377825"/>
            </a:xfrm>
            <a:custGeom>
              <a:avLst/>
              <a:gdLst>
                <a:gd name="T0" fmla="*/ 257 w 295"/>
                <a:gd name="T1" fmla="*/ 5 h 238"/>
                <a:gd name="T2" fmla="*/ 230 w 295"/>
                <a:gd name="T3" fmla="*/ 1 h 238"/>
                <a:gd name="T4" fmla="*/ 43 w 295"/>
                <a:gd name="T5" fmla="*/ 136 h 238"/>
                <a:gd name="T6" fmla="*/ 34 w 295"/>
                <a:gd name="T7" fmla="*/ 154 h 238"/>
                <a:gd name="T8" fmla="*/ 15 w 295"/>
                <a:gd name="T9" fmla="*/ 189 h 238"/>
                <a:gd name="T10" fmla="*/ 3 w 295"/>
                <a:gd name="T11" fmla="*/ 213 h 238"/>
                <a:gd name="T12" fmla="*/ 0 w 295"/>
                <a:gd name="T13" fmla="*/ 224 h 238"/>
                <a:gd name="T14" fmla="*/ 6 w 295"/>
                <a:gd name="T15" fmla="*/ 237 h 238"/>
                <a:gd name="T16" fmla="*/ 37 w 295"/>
                <a:gd name="T17" fmla="*/ 235 h 238"/>
                <a:gd name="T18" fmla="*/ 82 w 295"/>
                <a:gd name="T19" fmla="*/ 225 h 238"/>
                <a:gd name="T20" fmla="*/ 104 w 295"/>
                <a:gd name="T21" fmla="*/ 219 h 238"/>
                <a:gd name="T22" fmla="*/ 282 w 295"/>
                <a:gd name="T23" fmla="*/ 89 h 238"/>
                <a:gd name="T24" fmla="*/ 294 w 295"/>
                <a:gd name="T25" fmla="*/ 56 h 238"/>
                <a:gd name="T26" fmla="*/ 34 w 295"/>
                <a:gd name="T27" fmla="*/ 211 h 238"/>
                <a:gd name="T28" fmla="*/ 29 w 295"/>
                <a:gd name="T29" fmla="*/ 195 h 238"/>
                <a:gd name="T30" fmla="*/ 41 w 295"/>
                <a:gd name="T31" fmla="*/ 172 h 238"/>
                <a:gd name="T32" fmla="*/ 77 w 295"/>
                <a:gd name="T33" fmla="*/ 210 h 238"/>
                <a:gd name="T34" fmla="*/ 59 w 295"/>
                <a:gd name="T35" fmla="*/ 214 h 238"/>
                <a:gd name="T36" fmla="*/ 88 w 295"/>
                <a:gd name="T37" fmla="*/ 140 h 238"/>
                <a:gd name="T38" fmla="*/ 83 w 295"/>
                <a:gd name="T39" fmla="*/ 137 h 238"/>
                <a:gd name="T40" fmla="*/ 83 w 295"/>
                <a:gd name="T41" fmla="*/ 131 h 238"/>
                <a:gd name="T42" fmla="*/ 182 w 295"/>
                <a:gd name="T43" fmla="*/ 57 h 238"/>
                <a:gd name="T44" fmla="*/ 188 w 295"/>
                <a:gd name="T45" fmla="*/ 60 h 238"/>
                <a:gd name="T46" fmla="*/ 188 w 295"/>
                <a:gd name="T47" fmla="*/ 66 h 238"/>
                <a:gd name="T48" fmla="*/ 90 w 295"/>
                <a:gd name="T49" fmla="*/ 140 h 238"/>
                <a:gd name="T50" fmla="*/ 102 w 295"/>
                <a:gd name="T51" fmla="*/ 161 h 238"/>
                <a:gd name="T52" fmla="*/ 98 w 295"/>
                <a:gd name="T53" fmla="*/ 157 h 238"/>
                <a:gd name="T54" fmla="*/ 100 w 295"/>
                <a:gd name="T55" fmla="*/ 151 h 238"/>
                <a:gd name="T56" fmla="*/ 201 w 295"/>
                <a:gd name="T57" fmla="*/ 79 h 238"/>
                <a:gd name="T58" fmla="*/ 206 w 295"/>
                <a:gd name="T59" fmla="*/ 84 h 238"/>
                <a:gd name="T60" fmla="*/ 204 w 295"/>
                <a:gd name="T61" fmla="*/ 90 h 238"/>
                <a:gd name="T62" fmla="*/ 104 w 295"/>
                <a:gd name="T63" fmla="*/ 162 h 238"/>
                <a:gd name="T64" fmla="*/ 122 w 295"/>
                <a:gd name="T65" fmla="*/ 183 h 238"/>
                <a:gd name="T66" fmla="*/ 117 w 295"/>
                <a:gd name="T67" fmla="*/ 182 h 238"/>
                <a:gd name="T68" fmla="*/ 114 w 295"/>
                <a:gd name="T69" fmla="*/ 176 h 238"/>
                <a:gd name="T70" fmla="*/ 213 w 295"/>
                <a:gd name="T71" fmla="*/ 102 h 238"/>
                <a:gd name="T72" fmla="*/ 220 w 295"/>
                <a:gd name="T73" fmla="*/ 102 h 238"/>
                <a:gd name="T74" fmla="*/ 222 w 295"/>
                <a:gd name="T75" fmla="*/ 108 h 238"/>
                <a:gd name="T76" fmla="*/ 271 w 295"/>
                <a:gd name="T77" fmla="*/ 74 h 238"/>
                <a:gd name="T78" fmla="*/ 232 w 295"/>
                <a:gd name="T79" fmla="*/ 20 h 238"/>
                <a:gd name="T80" fmla="*/ 239 w 295"/>
                <a:gd name="T81" fmla="*/ 18 h 238"/>
                <a:gd name="T82" fmla="*/ 250 w 295"/>
                <a:gd name="T83" fmla="*/ 23 h 238"/>
                <a:gd name="T84" fmla="*/ 276 w 295"/>
                <a:gd name="T85" fmla="*/ 6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5" h="238">
                  <a:moveTo>
                    <a:pt x="289" y="45"/>
                  </a:moveTo>
                  <a:lnTo>
                    <a:pt x="265" y="12"/>
                  </a:lnTo>
                  <a:lnTo>
                    <a:pt x="257" y="5"/>
                  </a:lnTo>
                  <a:lnTo>
                    <a:pt x="249" y="1"/>
                  </a:lnTo>
                  <a:lnTo>
                    <a:pt x="239" y="0"/>
                  </a:lnTo>
                  <a:lnTo>
                    <a:pt x="230" y="1"/>
                  </a:lnTo>
                  <a:lnTo>
                    <a:pt x="221" y="6"/>
                  </a:lnTo>
                  <a:lnTo>
                    <a:pt x="203" y="19"/>
                  </a:lnTo>
                  <a:lnTo>
                    <a:pt x="43" y="136"/>
                  </a:lnTo>
                  <a:lnTo>
                    <a:pt x="42" y="139"/>
                  </a:lnTo>
                  <a:lnTo>
                    <a:pt x="39" y="145"/>
                  </a:lnTo>
                  <a:lnTo>
                    <a:pt x="34" y="154"/>
                  </a:lnTo>
                  <a:lnTo>
                    <a:pt x="28" y="166"/>
                  </a:lnTo>
                  <a:lnTo>
                    <a:pt x="21" y="178"/>
                  </a:lnTo>
                  <a:lnTo>
                    <a:pt x="15" y="189"/>
                  </a:lnTo>
                  <a:lnTo>
                    <a:pt x="10" y="200"/>
                  </a:lnTo>
                  <a:lnTo>
                    <a:pt x="6" y="208"/>
                  </a:lnTo>
                  <a:lnTo>
                    <a:pt x="3" y="213"/>
                  </a:lnTo>
                  <a:lnTo>
                    <a:pt x="2" y="216"/>
                  </a:lnTo>
                  <a:lnTo>
                    <a:pt x="0" y="219"/>
                  </a:lnTo>
                  <a:lnTo>
                    <a:pt x="0" y="224"/>
                  </a:lnTo>
                  <a:lnTo>
                    <a:pt x="0" y="229"/>
                  </a:lnTo>
                  <a:lnTo>
                    <a:pt x="2" y="234"/>
                  </a:lnTo>
                  <a:lnTo>
                    <a:pt x="6" y="237"/>
                  </a:lnTo>
                  <a:lnTo>
                    <a:pt x="13" y="238"/>
                  </a:lnTo>
                  <a:lnTo>
                    <a:pt x="23" y="237"/>
                  </a:lnTo>
                  <a:lnTo>
                    <a:pt x="37" y="235"/>
                  </a:lnTo>
                  <a:lnTo>
                    <a:pt x="53" y="231"/>
                  </a:lnTo>
                  <a:lnTo>
                    <a:pt x="68" y="228"/>
                  </a:lnTo>
                  <a:lnTo>
                    <a:pt x="82" y="225"/>
                  </a:lnTo>
                  <a:lnTo>
                    <a:pt x="94" y="222"/>
                  </a:lnTo>
                  <a:lnTo>
                    <a:pt x="102" y="220"/>
                  </a:lnTo>
                  <a:lnTo>
                    <a:pt x="104" y="219"/>
                  </a:lnTo>
                  <a:lnTo>
                    <a:pt x="239" y="121"/>
                  </a:lnTo>
                  <a:lnTo>
                    <a:pt x="239" y="121"/>
                  </a:lnTo>
                  <a:lnTo>
                    <a:pt x="282" y="89"/>
                  </a:lnTo>
                  <a:lnTo>
                    <a:pt x="291" y="80"/>
                  </a:lnTo>
                  <a:lnTo>
                    <a:pt x="295" y="68"/>
                  </a:lnTo>
                  <a:lnTo>
                    <a:pt x="294" y="56"/>
                  </a:lnTo>
                  <a:lnTo>
                    <a:pt x="289" y="45"/>
                  </a:lnTo>
                  <a:close/>
                  <a:moveTo>
                    <a:pt x="37" y="218"/>
                  </a:moveTo>
                  <a:lnTo>
                    <a:pt x="34" y="211"/>
                  </a:lnTo>
                  <a:lnTo>
                    <a:pt x="29" y="206"/>
                  </a:lnTo>
                  <a:lnTo>
                    <a:pt x="25" y="202"/>
                  </a:lnTo>
                  <a:lnTo>
                    <a:pt x="29" y="195"/>
                  </a:lnTo>
                  <a:lnTo>
                    <a:pt x="33" y="187"/>
                  </a:lnTo>
                  <a:lnTo>
                    <a:pt x="37" y="179"/>
                  </a:lnTo>
                  <a:lnTo>
                    <a:pt x="41" y="172"/>
                  </a:lnTo>
                  <a:lnTo>
                    <a:pt x="43" y="168"/>
                  </a:lnTo>
                  <a:lnTo>
                    <a:pt x="44" y="166"/>
                  </a:lnTo>
                  <a:lnTo>
                    <a:pt x="77" y="210"/>
                  </a:lnTo>
                  <a:lnTo>
                    <a:pt x="74" y="210"/>
                  </a:lnTo>
                  <a:lnTo>
                    <a:pt x="68" y="212"/>
                  </a:lnTo>
                  <a:lnTo>
                    <a:pt x="59" y="214"/>
                  </a:lnTo>
                  <a:lnTo>
                    <a:pt x="48" y="216"/>
                  </a:lnTo>
                  <a:lnTo>
                    <a:pt x="37" y="218"/>
                  </a:lnTo>
                  <a:close/>
                  <a:moveTo>
                    <a:pt x="88" y="140"/>
                  </a:moveTo>
                  <a:lnTo>
                    <a:pt x="86" y="140"/>
                  </a:lnTo>
                  <a:lnTo>
                    <a:pt x="84" y="139"/>
                  </a:lnTo>
                  <a:lnTo>
                    <a:pt x="83" y="137"/>
                  </a:lnTo>
                  <a:lnTo>
                    <a:pt x="82" y="135"/>
                  </a:lnTo>
                  <a:lnTo>
                    <a:pt x="82" y="133"/>
                  </a:lnTo>
                  <a:lnTo>
                    <a:pt x="83" y="131"/>
                  </a:lnTo>
                  <a:lnTo>
                    <a:pt x="84" y="129"/>
                  </a:lnTo>
                  <a:lnTo>
                    <a:pt x="180" y="59"/>
                  </a:lnTo>
                  <a:lnTo>
                    <a:pt x="182" y="57"/>
                  </a:lnTo>
                  <a:lnTo>
                    <a:pt x="184" y="57"/>
                  </a:lnTo>
                  <a:lnTo>
                    <a:pt x="186" y="58"/>
                  </a:lnTo>
                  <a:lnTo>
                    <a:pt x="188" y="60"/>
                  </a:lnTo>
                  <a:lnTo>
                    <a:pt x="189" y="62"/>
                  </a:lnTo>
                  <a:lnTo>
                    <a:pt x="189" y="64"/>
                  </a:lnTo>
                  <a:lnTo>
                    <a:pt x="188" y="66"/>
                  </a:lnTo>
                  <a:lnTo>
                    <a:pt x="187" y="68"/>
                  </a:lnTo>
                  <a:lnTo>
                    <a:pt x="92" y="139"/>
                  </a:lnTo>
                  <a:lnTo>
                    <a:pt x="90" y="140"/>
                  </a:lnTo>
                  <a:lnTo>
                    <a:pt x="88" y="140"/>
                  </a:lnTo>
                  <a:close/>
                  <a:moveTo>
                    <a:pt x="104" y="162"/>
                  </a:moveTo>
                  <a:lnTo>
                    <a:pt x="102" y="161"/>
                  </a:lnTo>
                  <a:lnTo>
                    <a:pt x="101" y="161"/>
                  </a:lnTo>
                  <a:lnTo>
                    <a:pt x="99" y="159"/>
                  </a:lnTo>
                  <a:lnTo>
                    <a:pt x="98" y="157"/>
                  </a:lnTo>
                  <a:lnTo>
                    <a:pt x="98" y="155"/>
                  </a:lnTo>
                  <a:lnTo>
                    <a:pt x="99" y="152"/>
                  </a:lnTo>
                  <a:lnTo>
                    <a:pt x="100" y="151"/>
                  </a:lnTo>
                  <a:lnTo>
                    <a:pt x="196" y="80"/>
                  </a:lnTo>
                  <a:lnTo>
                    <a:pt x="199" y="79"/>
                  </a:lnTo>
                  <a:lnTo>
                    <a:pt x="201" y="79"/>
                  </a:lnTo>
                  <a:lnTo>
                    <a:pt x="203" y="80"/>
                  </a:lnTo>
                  <a:lnTo>
                    <a:pt x="205" y="82"/>
                  </a:lnTo>
                  <a:lnTo>
                    <a:pt x="206" y="84"/>
                  </a:lnTo>
                  <a:lnTo>
                    <a:pt x="206" y="86"/>
                  </a:lnTo>
                  <a:lnTo>
                    <a:pt x="206" y="88"/>
                  </a:lnTo>
                  <a:lnTo>
                    <a:pt x="204" y="90"/>
                  </a:lnTo>
                  <a:lnTo>
                    <a:pt x="108" y="160"/>
                  </a:lnTo>
                  <a:lnTo>
                    <a:pt x="106" y="161"/>
                  </a:lnTo>
                  <a:lnTo>
                    <a:pt x="104" y="162"/>
                  </a:lnTo>
                  <a:close/>
                  <a:moveTo>
                    <a:pt x="220" y="112"/>
                  </a:moveTo>
                  <a:lnTo>
                    <a:pt x="124" y="182"/>
                  </a:lnTo>
                  <a:lnTo>
                    <a:pt x="122" y="183"/>
                  </a:lnTo>
                  <a:lnTo>
                    <a:pt x="120" y="183"/>
                  </a:lnTo>
                  <a:lnTo>
                    <a:pt x="118" y="183"/>
                  </a:lnTo>
                  <a:lnTo>
                    <a:pt x="117" y="182"/>
                  </a:lnTo>
                  <a:lnTo>
                    <a:pt x="115" y="181"/>
                  </a:lnTo>
                  <a:lnTo>
                    <a:pt x="114" y="179"/>
                  </a:lnTo>
                  <a:lnTo>
                    <a:pt x="114" y="176"/>
                  </a:lnTo>
                  <a:lnTo>
                    <a:pt x="115" y="174"/>
                  </a:lnTo>
                  <a:lnTo>
                    <a:pt x="117" y="172"/>
                  </a:lnTo>
                  <a:lnTo>
                    <a:pt x="213" y="102"/>
                  </a:lnTo>
                  <a:lnTo>
                    <a:pt x="215" y="101"/>
                  </a:lnTo>
                  <a:lnTo>
                    <a:pt x="217" y="101"/>
                  </a:lnTo>
                  <a:lnTo>
                    <a:pt x="220" y="102"/>
                  </a:lnTo>
                  <a:lnTo>
                    <a:pt x="221" y="103"/>
                  </a:lnTo>
                  <a:lnTo>
                    <a:pt x="222" y="106"/>
                  </a:lnTo>
                  <a:lnTo>
                    <a:pt x="222" y="108"/>
                  </a:lnTo>
                  <a:lnTo>
                    <a:pt x="222" y="110"/>
                  </a:lnTo>
                  <a:lnTo>
                    <a:pt x="220" y="112"/>
                  </a:lnTo>
                  <a:close/>
                  <a:moveTo>
                    <a:pt x="271" y="74"/>
                  </a:moveTo>
                  <a:lnTo>
                    <a:pt x="253" y="88"/>
                  </a:lnTo>
                  <a:lnTo>
                    <a:pt x="213" y="34"/>
                  </a:lnTo>
                  <a:lnTo>
                    <a:pt x="232" y="20"/>
                  </a:lnTo>
                  <a:lnTo>
                    <a:pt x="235" y="19"/>
                  </a:lnTo>
                  <a:lnTo>
                    <a:pt x="237" y="18"/>
                  </a:lnTo>
                  <a:lnTo>
                    <a:pt x="239" y="18"/>
                  </a:lnTo>
                  <a:lnTo>
                    <a:pt x="243" y="18"/>
                  </a:lnTo>
                  <a:lnTo>
                    <a:pt x="247" y="20"/>
                  </a:lnTo>
                  <a:lnTo>
                    <a:pt x="250" y="23"/>
                  </a:lnTo>
                  <a:lnTo>
                    <a:pt x="274" y="56"/>
                  </a:lnTo>
                  <a:lnTo>
                    <a:pt x="277" y="62"/>
                  </a:lnTo>
                  <a:lnTo>
                    <a:pt x="276" y="69"/>
                  </a:lnTo>
                  <a:lnTo>
                    <a:pt x="271" y="7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4" name="Freeform 1963">
              <a:extLst>
                <a:ext uri="{FF2B5EF4-FFF2-40B4-BE49-F238E27FC236}">
                  <a16:creationId xmlns:a16="http://schemas.microsoft.com/office/drawing/2014/main" id="{E90C0236-FE1C-4837-82E0-E2F372DEE877}"/>
                </a:ext>
              </a:extLst>
            </p:cNvPr>
            <p:cNvSpPr>
              <a:spLocks/>
            </p:cNvSpPr>
            <p:nvPr/>
          </p:nvSpPr>
          <p:spPr bwMode="auto">
            <a:xfrm>
              <a:off x="3632201" y="5503863"/>
              <a:ext cx="180975" cy="39688"/>
            </a:xfrm>
            <a:custGeom>
              <a:avLst/>
              <a:gdLst>
                <a:gd name="T0" fmla="*/ 101 w 114"/>
                <a:gd name="T1" fmla="*/ 25 h 25"/>
                <a:gd name="T2" fmla="*/ 13 w 114"/>
                <a:gd name="T3" fmla="*/ 25 h 25"/>
                <a:gd name="T4" fmla="*/ 9 w 114"/>
                <a:gd name="T5" fmla="*/ 24 h 25"/>
                <a:gd name="T6" fmla="*/ 5 w 114"/>
                <a:gd name="T7" fmla="*/ 22 h 25"/>
                <a:gd name="T8" fmla="*/ 3 w 114"/>
                <a:gd name="T9" fmla="*/ 20 h 25"/>
                <a:gd name="T10" fmla="*/ 1 w 114"/>
                <a:gd name="T11" fmla="*/ 16 h 25"/>
                <a:gd name="T12" fmla="*/ 0 w 114"/>
                <a:gd name="T13" fmla="*/ 12 h 25"/>
                <a:gd name="T14" fmla="*/ 1 w 114"/>
                <a:gd name="T15" fmla="*/ 8 h 25"/>
                <a:gd name="T16" fmla="*/ 3 w 114"/>
                <a:gd name="T17" fmla="*/ 5 h 25"/>
                <a:gd name="T18" fmla="*/ 5 w 114"/>
                <a:gd name="T19" fmla="*/ 2 h 25"/>
                <a:gd name="T20" fmla="*/ 9 w 114"/>
                <a:gd name="T21" fmla="*/ 0 h 25"/>
                <a:gd name="T22" fmla="*/ 13 w 114"/>
                <a:gd name="T23" fmla="*/ 0 h 25"/>
                <a:gd name="T24" fmla="*/ 101 w 114"/>
                <a:gd name="T25" fmla="*/ 0 h 25"/>
                <a:gd name="T26" fmla="*/ 105 w 114"/>
                <a:gd name="T27" fmla="*/ 0 h 25"/>
                <a:gd name="T28" fmla="*/ 109 w 114"/>
                <a:gd name="T29" fmla="*/ 2 h 25"/>
                <a:gd name="T30" fmla="*/ 111 w 114"/>
                <a:gd name="T31" fmla="*/ 5 h 25"/>
                <a:gd name="T32" fmla="*/ 113 w 114"/>
                <a:gd name="T33" fmla="*/ 8 h 25"/>
                <a:gd name="T34" fmla="*/ 114 w 114"/>
                <a:gd name="T35" fmla="*/ 12 h 25"/>
                <a:gd name="T36" fmla="*/ 113 w 114"/>
                <a:gd name="T37" fmla="*/ 16 h 25"/>
                <a:gd name="T38" fmla="*/ 111 w 114"/>
                <a:gd name="T39" fmla="*/ 20 h 25"/>
                <a:gd name="T40" fmla="*/ 109 w 114"/>
                <a:gd name="T41" fmla="*/ 22 h 25"/>
                <a:gd name="T42" fmla="*/ 105 w 114"/>
                <a:gd name="T43" fmla="*/ 24 h 25"/>
                <a:gd name="T44" fmla="*/ 101 w 114"/>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25">
                  <a:moveTo>
                    <a:pt x="101" y="25"/>
                  </a:moveTo>
                  <a:lnTo>
                    <a:pt x="13" y="25"/>
                  </a:lnTo>
                  <a:lnTo>
                    <a:pt x="9" y="24"/>
                  </a:lnTo>
                  <a:lnTo>
                    <a:pt x="5" y="22"/>
                  </a:lnTo>
                  <a:lnTo>
                    <a:pt x="3" y="20"/>
                  </a:lnTo>
                  <a:lnTo>
                    <a:pt x="1" y="16"/>
                  </a:lnTo>
                  <a:lnTo>
                    <a:pt x="0" y="12"/>
                  </a:lnTo>
                  <a:lnTo>
                    <a:pt x="1" y="8"/>
                  </a:lnTo>
                  <a:lnTo>
                    <a:pt x="3" y="5"/>
                  </a:lnTo>
                  <a:lnTo>
                    <a:pt x="5" y="2"/>
                  </a:lnTo>
                  <a:lnTo>
                    <a:pt x="9" y="0"/>
                  </a:lnTo>
                  <a:lnTo>
                    <a:pt x="13" y="0"/>
                  </a:lnTo>
                  <a:lnTo>
                    <a:pt x="101" y="0"/>
                  </a:lnTo>
                  <a:lnTo>
                    <a:pt x="105" y="0"/>
                  </a:lnTo>
                  <a:lnTo>
                    <a:pt x="109" y="2"/>
                  </a:lnTo>
                  <a:lnTo>
                    <a:pt x="111" y="5"/>
                  </a:lnTo>
                  <a:lnTo>
                    <a:pt x="113" y="8"/>
                  </a:lnTo>
                  <a:lnTo>
                    <a:pt x="114" y="12"/>
                  </a:lnTo>
                  <a:lnTo>
                    <a:pt x="113" y="16"/>
                  </a:lnTo>
                  <a:lnTo>
                    <a:pt x="111" y="20"/>
                  </a:lnTo>
                  <a:lnTo>
                    <a:pt x="109" y="22"/>
                  </a:lnTo>
                  <a:lnTo>
                    <a:pt x="105" y="24"/>
                  </a:lnTo>
                  <a:lnTo>
                    <a:pt x="101"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5" name="Freeform 1964">
              <a:extLst>
                <a:ext uri="{FF2B5EF4-FFF2-40B4-BE49-F238E27FC236}">
                  <a16:creationId xmlns:a16="http://schemas.microsoft.com/office/drawing/2014/main" id="{4D8D7C37-4EF8-42A5-B848-5DFCBF046828}"/>
                </a:ext>
              </a:extLst>
            </p:cNvPr>
            <p:cNvSpPr>
              <a:spLocks/>
            </p:cNvSpPr>
            <p:nvPr/>
          </p:nvSpPr>
          <p:spPr bwMode="auto">
            <a:xfrm>
              <a:off x="3632201" y="5576888"/>
              <a:ext cx="303213" cy="39688"/>
            </a:xfrm>
            <a:custGeom>
              <a:avLst/>
              <a:gdLst>
                <a:gd name="T0" fmla="*/ 179 w 191"/>
                <a:gd name="T1" fmla="*/ 25 h 25"/>
                <a:gd name="T2" fmla="*/ 13 w 191"/>
                <a:gd name="T3" fmla="*/ 25 h 25"/>
                <a:gd name="T4" fmla="*/ 9 w 191"/>
                <a:gd name="T5" fmla="*/ 24 h 25"/>
                <a:gd name="T6" fmla="*/ 5 w 191"/>
                <a:gd name="T7" fmla="*/ 22 h 25"/>
                <a:gd name="T8" fmla="*/ 3 w 191"/>
                <a:gd name="T9" fmla="*/ 20 h 25"/>
                <a:gd name="T10" fmla="*/ 1 w 191"/>
                <a:gd name="T11" fmla="*/ 16 h 25"/>
                <a:gd name="T12" fmla="*/ 0 w 191"/>
                <a:gd name="T13" fmla="*/ 12 h 25"/>
                <a:gd name="T14" fmla="*/ 1 w 191"/>
                <a:gd name="T15" fmla="*/ 8 h 25"/>
                <a:gd name="T16" fmla="*/ 3 w 191"/>
                <a:gd name="T17" fmla="*/ 5 h 25"/>
                <a:gd name="T18" fmla="*/ 5 w 191"/>
                <a:gd name="T19" fmla="*/ 2 h 25"/>
                <a:gd name="T20" fmla="*/ 9 w 191"/>
                <a:gd name="T21" fmla="*/ 1 h 25"/>
                <a:gd name="T22" fmla="*/ 13 w 191"/>
                <a:gd name="T23" fmla="*/ 0 h 25"/>
                <a:gd name="T24" fmla="*/ 179 w 191"/>
                <a:gd name="T25" fmla="*/ 0 h 25"/>
                <a:gd name="T26" fmla="*/ 182 w 191"/>
                <a:gd name="T27" fmla="*/ 1 h 25"/>
                <a:gd name="T28" fmla="*/ 186 w 191"/>
                <a:gd name="T29" fmla="*/ 2 h 25"/>
                <a:gd name="T30" fmla="*/ 189 w 191"/>
                <a:gd name="T31" fmla="*/ 5 h 25"/>
                <a:gd name="T32" fmla="*/ 190 w 191"/>
                <a:gd name="T33" fmla="*/ 8 h 25"/>
                <a:gd name="T34" fmla="*/ 191 w 191"/>
                <a:gd name="T35" fmla="*/ 12 h 25"/>
                <a:gd name="T36" fmla="*/ 190 w 191"/>
                <a:gd name="T37" fmla="*/ 16 h 25"/>
                <a:gd name="T38" fmla="*/ 189 w 191"/>
                <a:gd name="T39" fmla="*/ 20 h 25"/>
                <a:gd name="T40" fmla="*/ 186 w 191"/>
                <a:gd name="T41" fmla="*/ 22 h 25"/>
                <a:gd name="T42" fmla="*/ 182 w 191"/>
                <a:gd name="T43" fmla="*/ 24 h 25"/>
                <a:gd name="T44" fmla="*/ 179 w 191"/>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25">
                  <a:moveTo>
                    <a:pt x="179" y="25"/>
                  </a:moveTo>
                  <a:lnTo>
                    <a:pt x="13" y="25"/>
                  </a:lnTo>
                  <a:lnTo>
                    <a:pt x="9" y="24"/>
                  </a:lnTo>
                  <a:lnTo>
                    <a:pt x="5" y="22"/>
                  </a:lnTo>
                  <a:lnTo>
                    <a:pt x="3" y="20"/>
                  </a:lnTo>
                  <a:lnTo>
                    <a:pt x="1" y="16"/>
                  </a:lnTo>
                  <a:lnTo>
                    <a:pt x="0" y="12"/>
                  </a:lnTo>
                  <a:lnTo>
                    <a:pt x="1" y="8"/>
                  </a:lnTo>
                  <a:lnTo>
                    <a:pt x="3" y="5"/>
                  </a:lnTo>
                  <a:lnTo>
                    <a:pt x="5" y="2"/>
                  </a:lnTo>
                  <a:lnTo>
                    <a:pt x="9" y="1"/>
                  </a:lnTo>
                  <a:lnTo>
                    <a:pt x="13" y="0"/>
                  </a:lnTo>
                  <a:lnTo>
                    <a:pt x="179" y="0"/>
                  </a:lnTo>
                  <a:lnTo>
                    <a:pt x="182" y="1"/>
                  </a:lnTo>
                  <a:lnTo>
                    <a:pt x="186" y="2"/>
                  </a:lnTo>
                  <a:lnTo>
                    <a:pt x="189" y="5"/>
                  </a:lnTo>
                  <a:lnTo>
                    <a:pt x="190" y="8"/>
                  </a:lnTo>
                  <a:lnTo>
                    <a:pt x="191" y="12"/>
                  </a:lnTo>
                  <a:lnTo>
                    <a:pt x="190" y="16"/>
                  </a:lnTo>
                  <a:lnTo>
                    <a:pt x="189" y="20"/>
                  </a:lnTo>
                  <a:lnTo>
                    <a:pt x="186" y="22"/>
                  </a:lnTo>
                  <a:lnTo>
                    <a:pt x="182" y="24"/>
                  </a:lnTo>
                  <a:lnTo>
                    <a:pt x="179"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6" name="Freeform 1965">
              <a:extLst>
                <a:ext uri="{FF2B5EF4-FFF2-40B4-BE49-F238E27FC236}">
                  <a16:creationId xmlns:a16="http://schemas.microsoft.com/office/drawing/2014/main" id="{3419DA4A-4B31-48E9-BC52-9E0E66D5131C}"/>
                </a:ext>
              </a:extLst>
            </p:cNvPr>
            <p:cNvSpPr>
              <a:spLocks/>
            </p:cNvSpPr>
            <p:nvPr/>
          </p:nvSpPr>
          <p:spPr bwMode="auto">
            <a:xfrm>
              <a:off x="3632201" y="5729288"/>
              <a:ext cx="180975" cy="39688"/>
            </a:xfrm>
            <a:custGeom>
              <a:avLst/>
              <a:gdLst>
                <a:gd name="T0" fmla="*/ 101 w 114"/>
                <a:gd name="T1" fmla="*/ 25 h 25"/>
                <a:gd name="T2" fmla="*/ 13 w 114"/>
                <a:gd name="T3" fmla="*/ 25 h 25"/>
                <a:gd name="T4" fmla="*/ 9 w 114"/>
                <a:gd name="T5" fmla="*/ 24 h 25"/>
                <a:gd name="T6" fmla="*/ 5 w 114"/>
                <a:gd name="T7" fmla="*/ 22 h 25"/>
                <a:gd name="T8" fmla="*/ 3 w 114"/>
                <a:gd name="T9" fmla="*/ 19 h 25"/>
                <a:gd name="T10" fmla="*/ 1 w 114"/>
                <a:gd name="T11" fmla="*/ 16 h 25"/>
                <a:gd name="T12" fmla="*/ 0 w 114"/>
                <a:gd name="T13" fmla="*/ 12 h 25"/>
                <a:gd name="T14" fmla="*/ 1 w 114"/>
                <a:gd name="T15" fmla="*/ 8 h 25"/>
                <a:gd name="T16" fmla="*/ 3 w 114"/>
                <a:gd name="T17" fmla="*/ 5 h 25"/>
                <a:gd name="T18" fmla="*/ 5 w 114"/>
                <a:gd name="T19" fmla="*/ 2 h 25"/>
                <a:gd name="T20" fmla="*/ 9 w 114"/>
                <a:gd name="T21" fmla="*/ 0 h 25"/>
                <a:gd name="T22" fmla="*/ 13 w 114"/>
                <a:gd name="T23" fmla="*/ 0 h 25"/>
                <a:gd name="T24" fmla="*/ 101 w 114"/>
                <a:gd name="T25" fmla="*/ 0 h 25"/>
                <a:gd name="T26" fmla="*/ 105 w 114"/>
                <a:gd name="T27" fmla="*/ 0 h 25"/>
                <a:gd name="T28" fmla="*/ 109 w 114"/>
                <a:gd name="T29" fmla="*/ 2 h 25"/>
                <a:gd name="T30" fmla="*/ 111 w 114"/>
                <a:gd name="T31" fmla="*/ 5 h 25"/>
                <a:gd name="T32" fmla="*/ 113 w 114"/>
                <a:gd name="T33" fmla="*/ 8 h 25"/>
                <a:gd name="T34" fmla="*/ 114 w 114"/>
                <a:gd name="T35" fmla="*/ 12 h 25"/>
                <a:gd name="T36" fmla="*/ 113 w 114"/>
                <a:gd name="T37" fmla="*/ 16 h 25"/>
                <a:gd name="T38" fmla="*/ 111 w 114"/>
                <a:gd name="T39" fmla="*/ 19 h 25"/>
                <a:gd name="T40" fmla="*/ 109 w 114"/>
                <a:gd name="T41" fmla="*/ 22 h 25"/>
                <a:gd name="T42" fmla="*/ 105 w 114"/>
                <a:gd name="T43" fmla="*/ 24 h 25"/>
                <a:gd name="T44" fmla="*/ 101 w 114"/>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25">
                  <a:moveTo>
                    <a:pt x="101" y="25"/>
                  </a:moveTo>
                  <a:lnTo>
                    <a:pt x="13" y="25"/>
                  </a:lnTo>
                  <a:lnTo>
                    <a:pt x="9" y="24"/>
                  </a:lnTo>
                  <a:lnTo>
                    <a:pt x="5" y="22"/>
                  </a:lnTo>
                  <a:lnTo>
                    <a:pt x="3" y="19"/>
                  </a:lnTo>
                  <a:lnTo>
                    <a:pt x="1" y="16"/>
                  </a:lnTo>
                  <a:lnTo>
                    <a:pt x="0" y="12"/>
                  </a:lnTo>
                  <a:lnTo>
                    <a:pt x="1" y="8"/>
                  </a:lnTo>
                  <a:lnTo>
                    <a:pt x="3" y="5"/>
                  </a:lnTo>
                  <a:lnTo>
                    <a:pt x="5" y="2"/>
                  </a:lnTo>
                  <a:lnTo>
                    <a:pt x="9" y="0"/>
                  </a:lnTo>
                  <a:lnTo>
                    <a:pt x="13" y="0"/>
                  </a:lnTo>
                  <a:lnTo>
                    <a:pt x="101" y="0"/>
                  </a:lnTo>
                  <a:lnTo>
                    <a:pt x="105" y="0"/>
                  </a:lnTo>
                  <a:lnTo>
                    <a:pt x="109" y="2"/>
                  </a:lnTo>
                  <a:lnTo>
                    <a:pt x="111" y="5"/>
                  </a:lnTo>
                  <a:lnTo>
                    <a:pt x="113" y="8"/>
                  </a:lnTo>
                  <a:lnTo>
                    <a:pt x="114" y="12"/>
                  </a:lnTo>
                  <a:lnTo>
                    <a:pt x="113" y="16"/>
                  </a:lnTo>
                  <a:lnTo>
                    <a:pt x="111" y="19"/>
                  </a:lnTo>
                  <a:lnTo>
                    <a:pt x="109" y="22"/>
                  </a:lnTo>
                  <a:lnTo>
                    <a:pt x="105" y="24"/>
                  </a:lnTo>
                  <a:lnTo>
                    <a:pt x="101"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7" name="Freeform 1966">
              <a:extLst>
                <a:ext uri="{FF2B5EF4-FFF2-40B4-BE49-F238E27FC236}">
                  <a16:creationId xmlns:a16="http://schemas.microsoft.com/office/drawing/2014/main" id="{9ABBF52F-61BC-4EE1-9FFA-2E78E05C7A3E}"/>
                </a:ext>
              </a:extLst>
            </p:cNvPr>
            <p:cNvSpPr>
              <a:spLocks/>
            </p:cNvSpPr>
            <p:nvPr/>
          </p:nvSpPr>
          <p:spPr bwMode="auto">
            <a:xfrm>
              <a:off x="3632201" y="5802313"/>
              <a:ext cx="298450" cy="39688"/>
            </a:xfrm>
            <a:custGeom>
              <a:avLst/>
              <a:gdLst>
                <a:gd name="T0" fmla="*/ 175 w 188"/>
                <a:gd name="T1" fmla="*/ 25 h 25"/>
                <a:gd name="T2" fmla="*/ 13 w 188"/>
                <a:gd name="T3" fmla="*/ 25 h 25"/>
                <a:gd name="T4" fmla="*/ 9 w 188"/>
                <a:gd name="T5" fmla="*/ 24 h 25"/>
                <a:gd name="T6" fmla="*/ 5 w 188"/>
                <a:gd name="T7" fmla="*/ 22 h 25"/>
                <a:gd name="T8" fmla="*/ 3 w 188"/>
                <a:gd name="T9" fmla="*/ 20 h 25"/>
                <a:gd name="T10" fmla="*/ 1 w 188"/>
                <a:gd name="T11" fmla="*/ 16 h 25"/>
                <a:gd name="T12" fmla="*/ 0 w 188"/>
                <a:gd name="T13" fmla="*/ 12 h 25"/>
                <a:gd name="T14" fmla="*/ 1 w 188"/>
                <a:gd name="T15" fmla="*/ 8 h 25"/>
                <a:gd name="T16" fmla="*/ 3 w 188"/>
                <a:gd name="T17" fmla="*/ 5 h 25"/>
                <a:gd name="T18" fmla="*/ 5 w 188"/>
                <a:gd name="T19" fmla="*/ 2 h 25"/>
                <a:gd name="T20" fmla="*/ 9 w 188"/>
                <a:gd name="T21" fmla="*/ 0 h 25"/>
                <a:gd name="T22" fmla="*/ 13 w 188"/>
                <a:gd name="T23" fmla="*/ 0 h 25"/>
                <a:gd name="T24" fmla="*/ 175 w 188"/>
                <a:gd name="T25" fmla="*/ 0 h 25"/>
                <a:gd name="T26" fmla="*/ 179 w 188"/>
                <a:gd name="T27" fmla="*/ 0 h 25"/>
                <a:gd name="T28" fmla="*/ 183 w 188"/>
                <a:gd name="T29" fmla="*/ 2 h 25"/>
                <a:gd name="T30" fmla="*/ 185 w 188"/>
                <a:gd name="T31" fmla="*/ 5 h 25"/>
                <a:gd name="T32" fmla="*/ 187 w 188"/>
                <a:gd name="T33" fmla="*/ 8 h 25"/>
                <a:gd name="T34" fmla="*/ 188 w 188"/>
                <a:gd name="T35" fmla="*/ 12 h 25"/>
                <a:gd name="T36" fmla="*/ 187 w 188"/>
                <a:gd name="T37" fmla="*/ 16 h 25"/>
                <a:gd name="T38" fmla="*/ 185 w 188"/>
                <a:gd name="T39" fmla="*/ 20 h 25"/>
                <a:gd name="T40" fmla="*/ 183 w 188"/>
                <a:gd name="T41" fmla="*/ 22 h 25"/>
                <a:gd name="T42" fmla="*/ 179 w 188"/>
                <a:gd name="T43" fmla="*/ 24 h 25"/>
                <a:gd name="T44" fmla="*/ 175 w 188"/>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8" h="25">
                  <a:moveTo>
                    <a:pt x="175" y="25"/>
                  </a:moveTo>
                  <a:lnTo>
                    <a:pt x="13" y="25"/>
                  </a:lnTo>
                  <a:lnTo>
                    <a:pt x="9" y="24"/>
                  </a:lnTo>
                  <a:lnTo>
                    <a:pt x="5" y="22"/>
                  </a:lnTo>
                  <a:lnTo>
                    <a:pt x="3" y="20"/>
                  </a:lnTo>
                  <a:lnTo>
                    <a:pt x="1" y="16"/>
                  </a:lnTo>
                  <a:lnTo>
                    <a:pt x="0" y="12"/>
                  </a:lnTo>
                  <a:lnTo>
                    <a:pt x="1" y="8"/>
                  </a:lnTo>
                  <a:lnTo>
                    <a:pt x="3" y="5"/>
                  </a:lnTo>
                  <a:lnTo>
                    <a:pt x="5" y="2"/>
                  </a:lnTo>
                  <a:lnTo>
                    <a:pt x="9" y="0"/>
                  </a:lnTo>
                  <a:lnTo>
                    <a:pt x="13" y="0"/>
                  </a:lnTo>
                  <a:lnTo>
                    <a:pt x="175" y="0"/>
                  </a:lnTo>
                  <a:lnTo>
                    <a:pt x="179" y="0"/>
                  </a:lnTo>
                  <a:lnTo>
                    <a:pt x="183" y="2"/>
                  </a:lnTo>
                  <a:lnTo>
                    <a:pt x="185" y="5"/>
                  </a:lnTo>
                  <a:lnTo>
                    <a:pt x="187" y="8"/>
                  </a:lnTo>
                  <a:lnTo>
                    <a:pt x="188" y="12"/>
                  </a:lnTo>
                  <a:lnTo>
                    <a:pt x="187" y="16"/>
                  </a:lnTo>
                  <a:lnTo>
                    <a:pt x="185" y="20"/>
                  </a:lnTo>
                  <a:lnTo>
                    <a:pt x="183" y="22"/>
                  </a:lnTo>
                  <a:lnTo>
                    <a:pt x="179" y="24"/>
                  </a:lnTo>
                  <a:lnTo>
                    <a:pt x="17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grpSp>
      <p:pic>
        <p:nvPicPr>
          <p:cNvPr id="38" name="Picture 37">
            <a:extLst>
              <a:ext uri="{FF2B5EF4-FFF2-40B4-BE49-F238E27FC236}">
                <a16:creationId xmlns:a16="http://schemas.microsoft.com/office/drawing/2014/main" id="{C8A5773A-F091-45EC-B52F-4C064A38775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1521" y="1073595"/>
            <a:ext cx="3524245" cy="681823"/>
          </a:xfrm>
          <a:prstGeom prst="rect">
            <a:avLst/>
          </a:prstGeom>
        </p:spPr>
      </p:pic>
      <p:sp>
        <p:nvSpPr>
          <p:cNvPr id="39" name="TextBox 38">
            <a:extLst>
              <a:ext uri="{FF2B5EF4-FFF2-40B4-BE49-F238E27FC236}">
                <a16:creationId xmlns:a16="http://schemas.microsoft.com/office/drawing/2014/main" id="{F8252CBF-8796-4E79-A5CD-E654FFC74729}"/>
              </a:ext>
            </a:extLst>
          </p:cNvPr>
          <p:cNvSpPr txBox="1"/>
          <p:nvPr/>
        </p:nvSpPr>
        <p:spPr>
          <a:xfrm>
            <a:off x="1685544" y="1106941"/>
            <a:ext cx="1605995" cy="3600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Description</a:t>
            </a:r>
            <a:endParaRPr lang="en-US" sz="1800">
              <a:solidFill>
                <a:srgbClr val="717074"/>
              </a:solidFill>
            </a:endParaRPr>
          </a:p>
        </p:txBody>
      </p:sp>
      <p:pic>
        <p:nvPicPr>
          <p:cNvPr id="47" name="Picture 46">
            <a:extLst>
              <a:ext uri="{FF2B5EF4-FFF2-40B4-BE49-F238E27FC236}">
                <a16:creationId xmlns:a16="http://schemas.microsoft.com/office/drawing/2014/main" id="{ED52F3BC-37C9-4E4B-8F67-44C2A735708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6675" y="2372986"/>
            <a:ext cx="3459091" cy="502371"/>
          </a:xfrm>
          <a:prstGeom prst="rect">
            <a:avLst/>
          </a:prstGeom>
        </p:spPr>
      </p:pic>
      <p:sp>
        <p:nvSpPr>
          <p:cNvPr id="49" name="TextBox 48">
            <a:extLst>
              <a:ext uri="{FF2B5EF4-FFF2-40B4-BE49-F238E27FC236}">
                <a16:creationId xmlns:a16="http://schemas.microsoft.com/office/drawing/2014/main" id="{11EED3F2-4C11-48B6-8F1F-03EBA6B44D2A}"/>
              </a:ext>
            </a:extLst>
          </p:cNvPr>
          <p:cNvSpPr txBox="1"/>
          <p:nvPr/>
        </p:nvSpPr>
        <p:spPr>
          <a:xfrm>
            <a:off x="1068868" y="2457296"/>
            <a:ext cx="1605995" cy="304800"/>
          </a:xfrm>
          <a:prstGeom prst="rect">
            <a:avLst/>
          </a:prstGeom>
          <a:noFill/>
        </p:spPr>
        <p:txBody>
          <a:bodyPr wrap="none" lIns="0" tIns="0" rIns="0" bIns="0" rtlCol="0" anchor="ctr">
            <a:noAutofit/>
          </a:bodyPr>
          <a:lstStyle>
            <a:defPPr>
              <a:defRPr lang="en-US"/>
            </a:defPPr>
            <a:lvl1pPr lvl="0" indent="92075" eaLnBrk="0" fontAlgn="base" hangingPunct="0">
              <a:spcBef>
                <a:spcPts val="400"/>
              </a:spcBef>
              <a:spcAft>
                <a:spcPts val="900"/>
              </a:spcAft>
              <a:defRPr sz="1200" b="1">
                <a:solidFill>
                  <a:prstClr val="white"/>
                </a:solidFill>
                <a:ea typeface="Verdana" panose="020B0604030504040204" pitchFamily="34" charset="0"/>
                <a:cs typeface="Verdana" panose="020B0604030504040204" pitchFamily="34" charset="0"/>
              </a:defRPr>
            </a:lvl1pPr>
          </a:lstStyle>
          <a:p>
            <a:pPr defTabSz="914400"/>
            <a:r>
              <a:rPr lang="en-AU" altLang="en-US"/>
              <a:t>Audience</a:t>
            </a:r>
            <a:endParaRPr lang="en-US"/>
          </a:p>
        </p:txBody>
      </p:sp>
      <p:pic>
        <p:nvPicPr>
          <p:cNvPr id="50" name="Picture 49">
            <a:extLst>
              <a:ext uri="{FF2B5EF4-FFF2-40B4-BE49-F238E27FC236}">
                <a16:creationId xmlns:a16="http://schemas.microsoft.com/office/drawing/2014/main" id="{6E014DCD-5027-40BE-9472-E3814C21CC1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6675" y="3254723"/>
            <a:ext cx="3459091" cy="502371"/>
          </a:xfrm>
          <a:prstGeom prst="rect">
            <a:avLst/>
          </a:prstGeom>
        </p:spPr>
      </p:pic>
      <p:sp>
        <p:nvSpPr>
          <p:cNvPr id="60" name="TextBox 59">
            <a:extLst>
              <a:ext uri="{FF2B5EF4-FFF2-40B4-BE49-F238E27FC236}">
                <a16:creationId xmlns:a16="http://schemas.microsoft.com/office/drawing/2014/main" id="{4851E232-9A08-418A-B4CC-176E17A6570C}"/>
              </a:ext>
            </a:extLst>
          </p:cNvPr>
          <p:cNvSpPr txBox="1"/>
          <p:nvPr/>
        </p:nvSpPr>
        <p:spPr>
          <a:xfrm>
            <a:off x="1027019" y="3349462"/>
            <a:ext cx="1605995" cy="3048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Prerequisites</a:t>
            </a:r>
          </a:p>
        </p:txBody>
      </p:sp>
      <p:sp>
        <p:nvSpPr>
          <p:cNvPr id="61" name="Rectangle 60">
            <a:extLst>
              <a:ext uri="{FF2B5EF4-FFF2-40B4-BE49-F238E27FC236}">
                <a16:creationId xmlns:a16="http://schemas.microsoft.com/office/drawing/2014/main" id="{018FD273-6711-4532-A104-E84C889FB1C3}"/>
              </a:ext>
            </a:extLst>
          </p:cNvPr>
          <p:cNvSpPr/>
          <p:nvPr/>
        </p:nvSpPr>
        <p:spPr>
          <a:xfrm>
            <a:off x="8187663" y="2055936"/>
            <a:ext cx="2142422" cy="430887"/>
          </a:xfrm>
          <a:prstGeom prst="rect">
            <a:avLst/>
          </a:prstGeom>
        </p:spPr>
        <p:txBody>
          <a:bodyPr wrap="square" anchor="t">
            <a:spAutoFit/>
          </a:bodyPr>
          <a:lstStyle/>
          <a:p>
            <a:pPr defTabSz="914400"/>
            <a:r>
              <a:rPr lang="en-US" sz="1100">
                <a:ea typeface="ＭＳ Ｐゴシック"/>
              </a:rPr>
              <a:t>Process Scenario </a:t>
            </a:r>
            <a:endParaRPr lang="en-US">
              <a:ea typeface="ＭＳ Ｐゴシック"/>
            </a:endParaRPr>
          </a:p>
          <a:p>
            <a:pPr defTabSz="914400"/>
            <a:r>
              <a:rPr lang="en-US" sz="1100">
                <a:ea typeface="ＭＳ Ｐゴシック"/>
              </a:rPr>
              <a:t>Explained [Video]</a:t>
            </a:r>
            <a:endParaRPr lang="en-US">
              <a:cs typeface="Arial"/>
            </a:endParaRPr>
          </a:p>
        </p:txBody>
      </p:sp>
      <p:sp>
        <p:nvSpPr>
          <p:cNvPr id="67" name="Rectangle 66">
            <a:extLst>
              <a:ext uri="{FF2B5EF4-FFF2-40B4-BE49-F238E27FC236}">
                <a16:creationId xmlns:a16="http://schemas.microsoft.com/office/drawing/2014/main" id="{019AE7F2-7398-4E40-91E0-644DC3105C81}"/>
              </a:ext>
            </a:extLst>
          </p:cNvPr>
          <p:cNvSpPr/>
          <p:nvPr/>
        </p:nvSpPr>
        <p:spPr>
          <a:xfrm>
            <a:off x="10296011" y="2055936"/>
            <a:ext cx="1597653" cy="430887"/>
          </a:xfrm>
          <a:prstGeom prst="rect">
            <a:avLst/>
          </a:prstGeom>
        </p:spPr>
        <p:txBody>
          <a:bodyPr wrap="square">
            <a:spAutoFit/>
          </a:bodyPr>
          <a:lstStyle/>
          <a:p>
            <a:pPr defTabSz="914400"/>
            <a:r>
              <a:rPr lang="en-US" sz="1100">
                <a:solidFill>
                  <a:srgbClr val="000000"/>
                </a:solidFill>
                <a:ea typeface="ＭＳ Ｐゴシック" pitchFamily="34" charset="-128"/>
              </a:rPr>
              <a:t>Process in </a:t>
            </a:r>
            <a:r>
              <a:rPr lang="en-US" sz="1100" err="1">
                <a:solidFill>
                  <a:srgbClr val="000000"/>
                </a:solidFill>
                <a:ea typeface="ＭＳ Ｐゴシック" pitchFamily="34" charset="-128"/>
              </a:rPr>
              <a:t>Signavio</a:t>
            </a:r>
            <a:endParaRPr lang="en-US" sz="1100">
              <a:solidFill>
                <a:srgbClr val="000000"/>
              </a:solidFill>
              <a:ea typeface="ＭＳ Ｐゴシック" pitchFamily="34" charset="-128"/>
            </a:endParaRPr>
          </a:p>
          <a:p>
            <a:pPr defTabSz="914400"/>
            <a:r>
              <a:rPr lang="en-US" sz="1100">
                <a:solidFill>
                  <a:srgbClr val="000000"/>
                </a:solidFill>
                <a:ea typeface="ＭＳ Ｐゴシック" pitchFamily="34" charset="-128"/>
              </a:rPr>
              <a:t>[Video]</a:t>
            </a:r>
            <a:endParaRPr lang="en-US" sz="1100">
              <a:solidFill>
                <a:srgbClr val="FF0000"/>
              </a:solidFill>
              <a:ea typeface="ＭＳ Ｐゴシック" pitchFamily="34" charset="-128"/>
            </a:endParaRPr>
          </a:p>
        </p:txBody>
      </p:sp>
      <p:pic>
        <p:nvPicPr>
          <p:cNvPr id="70" name="Picture 69">
            <a:extLst>
              <a:ext uri="{FF2B5EF4-FFF2-40B4-BE49-F238E27FC236}">
                <a16:creationId xmlns:a16="http://schemas.microsoft.com/office/drawing/2014/main" id="{AF56B7E6-43E1-4250-B66D-D347CDCD011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2540" y="4163015"/>
            <a:ext cx="3459091" cy="502371"/>
          </a:xfrm>
          <a:prstGeom prst="rect">
            <a:avLst/>
          </a:prstGeom>
        </p:spPr>
      </p:pic>
      <p:sp>
        <p:nvSpPr>
          <p:cNvPr id="71" name="TextBox 70">
            <a:extLst>
              <a:ext uri="{FF2B5EF4-FFF2-40B4-BE49-F238E27FC236}">
                <a16:creationId xmlns:a16="http://schemas.microsoft.com/office/drawing/2014/main" id="{162FFDF4-28D7-4DB8-A796-D646E5B6FE41}"/>
              </a:ext>
            </a:extLst>
          </p:cNvPr>
          <p:cNvSpPr txBox="1"/>
          <p:nvPr/>
        </p:nvSpPr>
        <p:spPr>
          <a:xfrm>
            <a:off x="1001936" y="4217642"/>
            <a:ext cx="1605995" cy="3600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Overview</a:t>
            </a:r>
          </a:p>
        </p:txBody>
      </p:sp>
      <p:sp>
        <p:nvSpPr>
          <p:cNvPr id="75" name="Rectangle 74">
            <a:extLst>
              <a:ext uri="{FF2B5EF4-FFF2-40B4-BE49-F238E27FC236}">
                <a16:creationId xmlns:a16="http://schemas.microsoft.com/office/drawing/2014/main" id="{7549D3A6-61C2-4EC2-A2EE-A17119E59DB6}"/>
              </a:ext>
            </a:extLst>
          </p:cNvPr>
          <p:cNvSpPr/>
          <p:nvPr/>
        </p:nvSpPr>
        <p:spPr>
          <a:xfrm>
            <a:off x="341819" y="4672856"/>
            <a:ext cx="3612335" cy="1946911"/>
          </a:xfrm>
          <a:prstGeom prst="rect">
            <a:avLst/>
          </a:prstGeom>
        </p:spPr>
        <p:txBody>
          <a:bodyPr wrap="square" anchor="t">
            <a:spAutoFit/>
          </a:bodyPr>
          <a:lstStyle/>
          <a:p>
            <a:pPr defTabSz="914400"/>
            <a:r>
              <a:rPr lang="de-DE" sz="1100" b="1"/>
              <a:t>Context</a:t>
            </a:r>
            <a:endParaRPr lang="en-US"/>
          </a:p>
          <a:p>
            <a:pPr defTabSz="914400"/>
            <a:endParaRPr lang="en-US" sz="1100">
              <a:ea typeface="ＭＳ Ｐゴシック" pitchFamily="34" charset="-128"/>
            </a:endParaRPr>
          </a:p>
          <a:p>
            <a:pPr defTabSz="914400"/>
            <a:r>
              <a:rPr lang="en-US" sz="1100">
                <a:ea typeface="ＭＳ Ｐゴシック"/>
              </a:rPr>
              <a:t>Case record is used for all customer-facing communication while incident is opened and processed internally.</a:t>
            </a:r>
            <a:endParaRPr lang="en-US" sz="1100">
              <a:ea typeface="ＭＳ Ｐゴシック"/>
              <a:cs typeface="Arial"/>
            </a:endParaRPr>
          </a:p>
          <a:p>
            <a:pPr defTabSz="914400"/>
            <a:endParaRPr lang="en-US" sz="1100">
              <a:ea typeface="ＭＳ Ｐゴシック"/>
              <a:cs typeface="Arial"/>
            </a:endParaRPr>
          </a:p>
          <a:p>
            <a:pPr defTabSz="914400"/>
            <a:r>
              <a:rPr lang="en-US" sz="1100">
                <a:ea typeface="ＭＳ Ｐゴシック"/>
                <a:cs typeface="Arial"/>
              </a:rPr>
              <a:t>A case record can be created via incident record to communicate with customers when necessary.</a:t>
            </a:r>
          </a:p>
          <a:p>
            <a:pPr defTabSz="914400"/>
            <a:endParaRPr lang="en-US" sz="1100">
              <a:ea typeface="ＭＳ Ｐゴシック"/>
              <a:cs typeface="Arial"/>
            </a:endParaRPr>
          </a:p>
          <a:p>
            <a:pPr defTabSz="914400"/>
            <a:r>
              <a:rPr lang="en-US" sz="1100">
                <a:ea typeface="ＭＳ Ｐゴシック"/>
                <a:cs typeface="Arial"/>
              </a:rPr>
              <a:t>An incident record can be created via case record when non customer-facing teams need to be involved.</a:t>
            </a:r>
          </a:p>
        </p:txBody>
      </p:sp>
      <p:grpSp>
        <p:nvGrpSpPr>
          <p:cNvPr id="83" name="Group 82">
            <a:extLst>
              <a:ext uri="{FF2B5EF4-FFF2-40B4-BE49-F238E27FC236}">
                <a16:creationId xmlns:a16="http://schemas.microsoft.com/office/drawing/2014/main" id="{055F843A-E40F-42FD-AAE4-9FF10C8BA25E}"/>
              </a:ext>
            </a:extLst>
          </p:cNvPr>
          <p:cNvGrpSpPr/>
          <p:nvPr/>
        </p:nvGrpSpPr>
        <p:grpSpPr>
          <a:xfrm>
            <a:off x="4266232" y="1040912"/>
            <a:ext cx="3530229" cy="555279"/>
            <a:chOff x="3150020" y="633645"/>
            <a:chExt cx="3032760" cy="555279"/>
          </a:xfrm>
        </p:grpSpPr>
        <p:sp>
          <p:nvSpPr>
            <p:cNvPr id="84" name="Rectangle 83">
              <a:extLst>
                <a:ext uri="{FF2B5EF4-FFF2-40B4-BE49-F238E27FC236}">
                  <a16:creationId xmlns:a16="http://schemas.microsoft.com/office/drawing/2014/main" id="{A6620758-1DE2-4EE5-BB9F-C0F6C1790E6E}"/>
                </a:ext>
              </a:extLst>
            </p:cNvPr>
            <p:cNvSpPr/>
            <p:nvPr/>
          </p:nvSpPr>
          <p:spPr bwMode="gray">
            <a:xfrm>
              <a:off x="3150020" y="633645"/>
              <a:ext cx="3032760" cy="45719"/>
            </a:xfrm>
            <a:prstGeom prst="rect">
              <a:avLst/>
            </a:prstGeom>
            <a:solidFill>
              <a:srgbClr val="FBB24B"/>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85" name="Rectangle 84">
              <a:extLst>
                <a:ext uri="{FF2B5EF4-FFF2-40B4-BE49-F238E27FC236}">
                  <a16:creationId xmlns:a16="http://schemas.microsoft.com/office/drawing/2014/main" id="{4B14670A-17F5-43F2-9C32-2629582A43F0}"/>
                </a:ext>
              </a:extLst>
            </p:cNvPr>
            <p:cNvSpPr/>
            <p:nvPr/>
          </p:nvSpPr>
          <p:spPr bwMode="gray">
            <a:xfrm flipV="1">
              <a:off x="3150020" y="679364"/>
              <a:ext cx="3032760" cy="457200"/>
            </a:xfrm>
            <a:prstGeom prst="rect">
              <a:avLst/>
            </a:prstGeom>
            <a:solidFill>
              <a:srgbClr val="0095D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86" name="TextBox 85">
              <a:extLst>
                <a:ext uri="{FF2B5EF4-FFF2-40B4-BE49-F238E27FC236}">
                  <a16:creationId xmlns:a16="http://schemas.microsoft.com/office/drawing/2014/main" id="{5A878B44-0C9A-43D2-84F3-8B894F6DD98E}"/>
                </a:ext>
              </a:extLst>
            </p:cNvPr>
            <p:cNvSpPr txBox="1"/>
            <p:nvPr/>
          </p:nvSpPr>
          <p:spPr>
            <a:xfrm>
              <a:off x="4014614" y="715635"/>
              <a:ext cx="1371600" cy="360000"/>
            </a:xfrm>
            <a:prstGeom prst="rect">
              <a:avLst/>
            </a:prstGeom>
            <a:noFill/>
          </p:spPr>
          <p:txBody>
            <a:bodyPr wrap="none" lIns="0" tIns="0" rIns="0" bIns="0" rtlCol="0" anchor="ctr">
              <a:noAutofit/>
            </a:bodyPr>
            <a:lstStyle/>
            <a:p>
              <a:pPr lvl="0" indent="92075"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Explanation &amp; Related Terms</a:t>
              </a:r>
            </a:p>
          </p:txBody>
        </p:sp>
        <p:sp>
          <p:nvSpPr>
            <p:cNvPr id="87" name="Isosceles Triangle 86">
              <a:extLst>
                <a:ext uri="{FF2B5EF4-FFF2-40B4-BE49-F238E27FC236}">
                  <a16:creationId xmlns:a16="http://schemas.microsoft.com/office/drawing/2014/main" id="{A07BD9D9-F4B5-4771-8519-1F26B6EE2CEF}"/>
                </a:ext>
              </a:extLst>
            </p:cNvPr>
            <p:cNvSpPr/>
            <p:nvPr/>
          </p:nvSpPr>
          <p:spPr>
            <a:xfrm flipV="1">
              <a:off x="5785619" y="984544"/>
              <a:ext cx="396938" cy="204380"/>
            </a:xfrm>
            <a:prstGeom prst="triangle">
              <a:avLst/>
            </a:prstGeom>
            <a:solidFill>
              <a:srgbClr val="0095D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99" name="Illustration" descr="Example of an illustration" title="Illustration for title slide">
            <a:extLst>
              <a:ext uri="{FF2B5EF4-FFF2-40B4-BE49-F238E27FC236}">
                <a16:creationId xmlns:a16="http://schemas.microsoft.com/office/drawing/2014/main" id="{8F1690E4-F0A3-432F-A8C5-ADFF9F911587}"/>
              </a:ext>
            </a:extLst>
          </p:cNvPr>
          <p:cNvPicPr>
            <a:picLocks noChangeAspect="1"/>
          </p:cNvPicPr>
          <p:nvPr/>
        </p:nvPicPr>
        <p:blipFill rotWithShape="1">
          <a:blip r:embed="rId10"/>
          <a:srcRect l="70221" t="59532" r="26482" b="26655"/>
          <a:stretch/>
        </p:blipFill>
        <p:spPr bwMode="gray">
          <a:xfrm>
            <a:off x="1238797" y="1025071"/>
            <a:ext cx="413965" cy="449277"/>
          </a:xfrm>
          <a:prstGeom prst="rect">
            <a:avLst/>
          </a:prstGeom>
          <a:noFill/>
        </p:spPr>
      </p:pic>
      <p:pic>
        <p:nvPicPr>
          <p:cNvPr id="100" name="Picture 99">
            <a:extLst>
              <a:ext uri="{FF2B5EF4-FFF2-40B4-BE49-F238E27FC236}">
                <a16:creationId xmlns:a16="http://schemas.microsoft.com/office/drawing/2014/main" id="{60765153-FD05-41F0-AEC1-D721534E38E4}"/>
              </a:ext>
            </a:extLst>
          </p:cNvPr>
          <p:cNvPicPr>
            <a:picLocks noChangeAspect="1"/>
          </p:cNvPicPr>
          <p:nvPr/>
        </p:nvPicPr>
        <p:blipFill>
          <a:blip r:embed="rId11"/>
          <a:stretch>
            <a:fillRect/>
          </a:stretch>
        </p:blipFill>
        <p:spPr>
          <a:xfrm>
            <a:off x="4245847" y="756444"/>
            <a:ext cx="1104390" cy="1104390"/>
          </a:xfrm>
          <a:prstGeom prst="rect">
            <a:avLst/>
          </a:prstGeom>
        </p:spPr>
      </p:pic>
      <p:pic>
        <p:nvPicPr>
          <p:cNvPr id="105" name="Picture 76">
            <a:extLst>
              <a:ext uri="{FF2B5EF4-FFF2-40B4-BE49-F238E27FC236}">
                <a16:creationId xmlns:a16="http://schemas.microsoft.com/office/drawing/2014/main" id="{17CAE407-ED69-42F8-A569-6816A5847D7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391457" y="3146375"/>
            <a:ext cx="675418" cy="675418"/>
          </a:xfrm>
          <a:prstGeom prst="rect">
            <a:avLst/>
          </a:prstGeom>
        </p:spPr>
      </p:pic>
      <p:grpSp>
        <p:nvGrpSpPr>
          <p:cNvPr id="107" name="Group 5">
            <a:extLst>
              <a:ext uri="{FF2B5EF4-FFF2-40B4-BE49-F238E27FC236}">
                <a16:creationId xmlns:a16="http://schemas.microsoft.com/office/drawing/2014/main" id="{F7B1E092-42EE-4B98-BE93-5060B09B0E56}"/>
              </a:ext>
            </a:extLst>
          </p:cNvPr>
          <p:cNvGrpSpPr>
            <a:grpSpLocks noChangeAspect="1"/>
          </p:cNvGrpSpPr>
          <p:nvPr/>
        </p:nvGrpSpPr>
        <p:grpSpPr bwMode="auto">
          <a:xfrm>
            <a:off x="453198" y="2444823"/>
            <a:ext cx="423854" cy="356441"/>
            <a:chOff x="471" y="958"/>
            <a:chExt cx="269" cy="265"/>
          </a:xfrm>
          <a:solidFill>
            <a:schemeClr val="accent1"/>
          </a:solidFill>
        </p:grpSpPr>
        <p:sp>
          <p:nvSpPr>
            <p:cNvPr id="108" name="Freeform 6">
              <a:extLst>
                <a:ext uri="{FF2B5EF4-FFF2-40B4-BE49-F238E27FC236}">
                  <a16:creationId xmlns:a16="http://schemas.microsoft.com/office/drawing/2014/main" id="{54B29DB9-39DA-4152-A637-8F597DD26ED0}"/>
                </a:ext>
              </a:extLst>
            </p:cNvPr>
            <p:cNvSpPr>
              <a:spLocks noEditPoints="1"/>
            </p:cNvSpPr>
            <p:nvPr/>
          </p:nvSpPr>
          <p:spPr bwMode="auto">
            <a:xfrm>
              <a:off x="471" y="1096"/>
              <a:ext cx="269" cy="127"/>
            </a:xfrm>
            <a:custGeom>
              <a:avLst/>
              <a:gdLst>
                <a:gd name="T0" fmla="*/ 793 w 1586"/>
                <a:gd name="T1" fmla="*/ 55 h 746"/>
                <a:gd name="T2" fmla="*/ 975 w 1586"/>
                <a:gd name="T3" fmla="*/ 245 h 746"/>
                <a:gd name="T4" fmla="*/ 1095 w 1586"/>
                <a:gd name="T5" fmla="*/ 0 h 746"/>
                <a:gd name="T6" fmla="*/ 1333 w 1586"/>
                <a:gd name="T7" fmla="*/ 81 h 746"/>
                <a:gd name="T8" fmla="*/ 1458 w 1586"/>
                <a:gd name="T9" fmla="*/ 155 h 746"/>
                <a:gd name="T10" fmla="*/ 1519 w 1586"/>
                <a:gd name="T11" fmla="*/ 234 h 746"/>
                <a:gd name="T12" fmla="*/ 1568 w 1586"/>
                <a:gd name="T13" fmla="*/ 508 h 746"/>
                <a:gd name="T14" fmla="*/ 1586 w 1586"/>
                <a:gd name="T15" fmla="*/ 746 h 746"/>
                <a:gd name="T16" fmla="*/ 1302 w 1586"/>
                <a:gd name="T17" fmla="*/ 746 h 746"/>
                <a:gd name="T18" fmla="*/ 1299 w 1586"/>
                <a:gd name="T19" fmla="*/ 592 h 746"/>
                <a:gd name="T20" fmla="*/ 1201 w 1586"/>
                <a:gd name="T21" fmla="*/ 592 h 746"/>
                <a:gd name="T22" fmla="*/ 1201 w 1586"/>
                <a:gd name="T23" fmla="*/ 746 h 746"/>
                <a:gd name="T24" fmla="*/ 385 w 1586"/>
                <a:gd name="T25" fmla="*/ 746 h 746"/>
                <a:gd name="T26" fmla="*/ 385 w 1586"/>
                <a:gd name="T27" fmla="*/ 592 h 746"/>
                <a:gd name="T28" fmla="*/ 287 w 1586"/>
                <a:gd name="T29" fmla="*/ 592 h 746"/>
                <a:gd name="T30" fmla="*/ 285 w 1586"/>
                <a:gd name="T31" fmla="*/ 746 h 746"/>
                <a:gd name="T32" fmla="*/ 0 w 1586"/>
                <a:gd name="T33" fmla="*/ 746 h 746"/>
                <a:gd name="T34" fmla="*/ 18 w 1586"/>
                <a:gd name="T35" fmla="*/ 508 h 746"/>
                <a:gd name="T36" fmla="*/ 67 w 1586"/>
                <a:gd name="T37" fmla="*/ 234 h 746"/>
                <a:gd name="T38" fmla="*/ 128 w 1586"/>
                <a:gd name="T39" fmla="*/ 155 h 746"/>
                <a:gd name="T40" fmla="*/ 253 w 1586"/>
                <a:gd name="T41" fmla="*/ 81 h 746"/>
                <a:gd name="T42" fmla="*/ 491 w 1586"/>
                <a:gd name="T43" fmla="*/ 0 h 746"/>
                <a:gd name="T44" fmla="*/ 612 w 1586"/>
                <a:gd name="T45" fmla="*/ 245 h 746"/>
                <a:gd name="T46" fmla="*/ 793 w 1586"/>
                <a:gd name="T47" fmla="*/ 55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86" h="746">
                  <a:moveTo>
                    <a:pt x="793" y="55"/>
                  </a:moveTo>
                  <a:cubicBezTo>
                    <a:pt x="854" y="118"/>
                    <a:pt x="914" y="182"/>
                    <a:pt x="975" y="245"/>
                  </a:cubicBezTo>
                  <a:cubicBezTo>
                    <a:pt x="1015" y="163"/>
                    <a:pt x="1055" y="82"/>
                    <a:pt x="1095" y="0"/>
                  </a:cubicBezTo>
                  <a:cubicBezTo>
                    <a:pt x="1183" y="27"/>
                    <a:pt x="1271" y="55"/>
                    <a:pt x="1333" y="81"/>
                  </a:cubicBezTo>
                  <a:cubicBezTo>
                    <a:pt x="1395" y="106"/>
                    <a:pt x="1431" y="131"/>
                    <a:pt x="1458" y="155"/>
                  </a:cubicBezTo>
                  <a:cubicBezTo>
                    <a:pt x="1485" y="179"/>
                    <a:pt x="1503" y="202"/>
                    <a:pt x="1519" y="234"/>
                  </a:cubicBezTo>
                  <a:cubicBezTo>
                    <a:pt x="1536" y="265"/>
                    <a:pt x="1550" y="305"/>
                    <a:pt x="1568" y="508"/>
                  </a:cubicBezTo>
                  <a:cubicBezTo>
                    <a:pt x="1574" y="573"/>
                    <a:pt x="1580" y="654"/>
                    <a:pt x="1586" y="746"/>
                  </a:cubicBezTo>
                  <a:moveTo>
                    <a:pt x="1302" y="746"/>
                  </a:moveTo>
                  <a:cubicBezTo>
                    <a:pt x="1301" y="695"/>
                    <a:pt x="1300" y="643"/>
                    <a:pt x="1299" y="592"/>
                  </a:cubicBezTo>
                  <a:cubicBezTo>
                    <a:pt x="1266" y="559"/>
                    <a:pt x="1233" y="561"/>
                    <a:pt x="1201" y="592"/>
                  </a:cubicBezTo>
                  <a:cubicBezTo>
                    <a:pt x="1201" y="643"/>
                    <a:pt x="1201" y="694"/>
                    <a:pt x="1201" y="746"/>
                  </a:cubicBezTo>
                  <a:moveTo>
                    <a:pt x="385" y="746"/>
                  </a:moveTo>
                  <a:cubicBezTo>
                    <a:pt x="385" y="694"/>
                    <a:pt x="385" y="643"/>
                    <a:pt x="385" y="592"/>
                  </a:cubicBezTo>
                  <a:cubicBezTo>
                    <a:pt x="352" y="561"/>
                    <a:pt x="320" y="557"/>
                    <a:pt x="287" y="592"/>
                  </a:cubicBezTo>
                  <a:cubicBezTo>
                    <a:pt x="286" y="643"/>
                    <a:pt x="286" y="695"/>
                    <a:pt x="285" y="746"/>
                  </a:cubicBezTo>
                  <a:moveTo>
                    <a:pt x="0" y="746"/>
                  </a:moveTo>
                  <a:cubicBezTo>
                    <a:pt x="6" y="654"/>
                    <a:pt x="12" y="573"/>
                    <a:pt x="18" y="508"/>
                  </a:cubicBezTo>
                  <a:cubicBezTo>
                    <a:pt x="36" y="305"/>
                    <a:pt x="50" y="265"/>
                    <a:pt x="67" y="234"/>
                  </a:cubicBezTo>
                  <a:cubicBezTo>
                    <a:pt x="83" y="202"/>
                    <a:pt x="101" y="179"/>
                    <a:pt x="128" y="155"/>
                  </a:cubicBezTo>
                  <a:cubicBezTo>
                    <a:pt x="155" y="131"/>
                    <a:pt x="191" y="106"/>
                    <a:pt x="253" y="81"/>
                  </a:cubicBezTo>
                  <a:cubicBezTo>
                    <a:pt x="315" y="55"/>
                    <a:pt x="403" y="27"/>
                    <a:pt x="491" y="0"/>
                  </a:cubicBezTo>
                  <a:cubicBezTo>
                    <a:pt x="531" y="82"/>
                    <a:pt x="571" y="163"/>
                    <a:pt x="612" y="245"/>
                  </a:cubicBezTo>
                  <a:cubicBezTo>
                    <a:pt x="672" y="182"/>
                    <a:pt x="733" y="118"/>
                    <a:pt x="793" y="55"/>
                  </a:cubicBezTo>
                </a:path>
              </a:pathLst>
            </a:custGeom>
            <a:grpFill/>
            <a:ln w="12700"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sp>
          <p:nvSpPr>
            <p:cNvPr id="109" name="Oval 7">
              <a:extLst>
                <a:ext uri="{FF2B5EF4-FFF2-40B4-BE49-F238E27FC236}">
                  <a16:creationId xmlns:a16="http://schemas.microsoft.com/office/drawing/2014/main" id="{50078655-C2F9-4ACE-A5E3-4C4DCD242528}"/>
                </a:ext>
              </a:extLst>
            </p:cNvPr>
            <p:cNvSpPr>
              <a:spLocks noChangeArrowheads="1"/>
            </p:cNvSpPr>
            <p:nvPr/>
          </p:nvSpPr>
          <p:spPr bwMode="auto">
            <a:xfrm>
              <a:off x="542" y="958"/>
              <a:ext cx="126" cy="126"/>
            </a:xfrm>
            <a:prstGeom prst="ellips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sp>
          <p:nvSpPr>
            <p:cNvPr id="110" name="Freeform 8">
              <a:extLst>
                <a:ext uri="{FF2B5EF4-FFF2-40B4-BE49-F238E27FC236}">
                  <a16:creationId xmlns:a16="http://schemas.microsoft.com/office/drawing/2014/main" id="{0EC97590-4640-42E8-9A2A-13F26EDEEA0C}"/>
                </a:ext>
              </a:extLst>
            </p:cNvPr>
            <p:cNvSpPr>
              <a:spLocks/>
            </p:cNvSpPr>
            <p:nvPr/>
          </p:nvSpPr>
          <p:spPr bwMode="auto">
            <a:xfrm>
              <a:off x="582" y="1131"/>
              <a:ext cx="46" cy="46"/>
            </a:xfrm>
            <a:custGeom>
              <a:avLst/>
              <a:gdLst>
                <a:gd name="T0" fmla="*/ 0 w 273"/>
                <a:gd name="T1" fmla="*/ 137 h 273"/>
                <a:gd name="T2" fmla="*/ 137 w 273"/>
                <a:gd name="T3" fmla="*/ 0 h 273"/>
                <a:gd name="T4" fmla="*/ 273 w 273"/>
                <a:gd name="T5" fmla="*/ 137 h 273"/>
                <a:gd name="T6" fmla="*/ 137 w 273"/>
                <a:gd name="T7" fmla="*/ 273 h 273"/>
                <a:gd name="T8" fmla="*/ 0 w 273"/>
                <a:gd name="T9" fmla="*/ 137 h 273"/>
              </a:gdLst>
              <a:ahLst/>
              <a:cxnLst>
                <a:cxn ang="0">
                  <a:pos x="T0" y="T1"/>
                </a:cxn>
                <a:cxn ang="0">
                  <a:pos x="T2" y="T3"/>
                </a:cxn>
                <a:cxn ang="0">
                  <a:pos x="T4" y="T5"/>
                </a:cxn>
                <a:cxn ang="0">
                  <a:pos x="T6" y="T7"/>
                </a:cxn>
                <a:cxn ang="0">
                  <a:pos x="T8" y="T9"/>
                </a:cxn>
              </a:cxnLst>
              <a:rect l="0" t="0" r="r" b="b"/>
              <a:pathLst>
                <a:path w="273" h="273">
                  <a:moveTo>
                    <a:pt x="0" y="137"/>
                  </a:moveTo>
                  <a:lnTo>
                    <a:pt x="137" y="0"/>
                  </a:lnTo>
                  <a:lnTo>
                    <a:pt x="273" y="137"/>
                  </a:lnTo>
                  <a:lnTo>
                    <a:pt x="137" y="273"/>
                  </a:lnTo>
                  <a:lnTo>
                    <a:pt x="0" y="137"/>
                  </a:lnTo>
                  <a:close/>
                </a:path>
              </a:pathLst>
            </a:custGeom>
            <a:grpFill/>
            <a:ln w="12700"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sp>
          <p:nvSpPr>
            <p:cNvPr id="111" name="Freeform 9">
              <a:extLst>
                <a:ext uri="{FF2B5EF4-FFF2-40B4-BE49-F238E27FC236}">
                  <a16:creationId xmlns:a16="http://schemas.microsoft.com/office/drawing/2014/main" id="{388AC070-6A91-4240-AF33-A4953009903F}"/>
                </a:ext>
              </a:extLst>
            </p:cNvPr>
            <p:cNvSpPr>
              <a:spLocks/>
            </p:cNvSpPr>
            <p:nvPr/>
          </p:nvSpPr>
          <p:spPr bwMode="auto">
            <a:xfrm>
              <a:off x="586" y="1169"/>
              <a:ext cx="38" cy="54"/>
            </a:xfrm>
            <a:custGeom>
              <a:avLst/>
              <a:gdLst>
                <a:gd name="T0" fmla="*/ 224 w 224"/>
                <a:gd name="T1" fmla="*/ 319 h 319"/>
                <a:gd name="T2" fmla="*/ 162 w 224"/>
                <a:gd name="T3" fmla="*/ 0 h 319"/>
                <a:gd name="T4" fmla="*/ 113 w 224"/>
                <a:gd name="T5" fmla="*/ 49 h 319"/>
                <a:gd name="T6" fmla="*/ 65 w 224"/>
                <a:gd name="T7" fmla="*/ 1 h 319"/>
                <a:gd name="T8" fmla="*/ 0 w 224"/>
                <a:gd name="T9" fmla="*/ 319 h 319"/>
              </a:gdLst>
              <a:ahLst/>
              <a:cxnLst>
                <a:cxn ang="0">
                  <a:pos x="T0" y="T1"/>
                </a:cxn>
                <a:cxn ang="0">
                  <a:pos x="T2" y="T3"/>
                </a:cxn>
                <a:cxn ang="0">
                  <a:pos x="T4" y="T5"/>
                </a:cxn>
                <a:cxn ang="0">
                  <a:pos x="T6" y="T7"/>
                </a:cxn>
                <a:cxn ang="0">
                  <a:pos x="T8" y="T9"/>
                </a:cxn>
              </a:cxnLst>
              <a:rect l="0" t="0" r="r" b="b"/>
              <a:pathLst>
                <a:path w="224" h="319">
                  <a:moveTo>
                    <a:pt x="224" y="319"/>
                  </a:moveTo>
                  <a:lnTo>
                    <a:pt x="162" y="0"/>
                  </a:lnTo>
                  <a:lnTo>
                    <a:pt x="113" y="49"/>
                  </a:lnTo>
                  <a:lnTo>
                    <a:pt x="65" y="1"/>
                  </a:lnTo>
                  <a:lnTo>
                    <a:pt x="0" y="319"/>
                  </a:lnTo>
                </a:path>
              </a:pathLst>
            </a:custGeom>
            <a:grpFill/>
            <a:ln w="12700"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grpSp>
      <p:grpSp>
        <p:nvGrpSpPr>
          <p:cNvPr id="52" name="Group 51">
            <a:extLst>
              <a:ext uri="{FF2B5EF4-FFF2-40B4-BE49-F238E27FC236}">
                <a16:creationId xmlns:a16="http://schemas.microsoft.com/office/drawing/2014/main" id="{2B4BF474-A607-44F4-9071-23F9BFCF17F4}"/>
              </a:ext>
            </a:extLst>
          </p:cNvPr>
          <p:cNvGrpSpPr/>
          <p:nvPr/>
        </p:nvGrpSpPr>
        <p:grpSpPr>
          <a:xfrm>
            <a:off x="8118199" y="1040912"/>
            <a:ext cx="3530229" cy="555279"/>
            <a:chOff x="3150020" y="633645"/>
            <a:chExt cx="3032760" cy="555279"/>
          </a:xfrm>
        </p:grpSpPr>
        <p:sp>
          <p:nvSpPr>
            <p:cNvPr id="53" name="Rectangle 52">
              <a:extLst>
                <a:ext uri="{FF2B5EF4-FFF2-40B4-BE49-F238E27FC236}">
                  <a16:creationId xmlns:a16="http://schemas.microsoft.com/office/drawing/2014/main" id="{A8050152-A235-410A-B1FD-FA1E75BB73C8}"/>
                </a:ext>
              </a:extLst>
            </p:cNvPr>
            <p:cNvSpPr/>
            <p:nvPr/>
          </p:nvSpPr>
          <p:spPr bwMode="gray">
            <a:xfrm>
              <a:off x="3150020" y="633645"/>
              <a:ext cx="3032760" cy="45719"/>
            </a:xfrm>
            <a:prstGeom prst="rect">
              <a:avLst/>
            </a:prstGeom>
            <a:solidFill>
              <a:srgbClr val="FBB24B"/>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54" name="Rectangle 53">
              <a:extLst>
                <a:ext uri="{FF2B5EF4-FFF2-40B4-BE49-F238E27FC236}">
                  <a16:creationId xmlns:a16="http://schemas.microsoft.com/office/drawing/2014/main" id="{D4DBFB74-5369-4B59-A37F-2FDD936621EA}"/>
                </a:ext>
              </a:extLst>
            </p:cNvPr>
            <p:cNvSpPr/>
            <p:nvPr/>
          </p:nvSpPr>
          <p:spPr bwMode="gray">
            <a:xfrm flipV="1">
              <a:off x="3150020" y="679364"/>
              <a:ext cx="3032760" cy="457200"/>
            </a:xfrm>
            <a:prstGeom prst="rect">
              <a:avLst/>
            </a:prstGeom>
            <a:solidFill>
              <a:srgbClr val="0095D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55" name="TextBox 54">
              <a:extLst>
                <a:ext uri="{FF2B5EF4-FFF2-40B4-BE49-F238E27FC236}">
                  <a16:creationId xmlns:a16="http://schemas.microsoft.com/office/drawing/2014/main" id="{6A8D3D16-17B4-47D9-BE6E-0A1C4F59839B}"/>
                </a:ext>
              </a:extLst>
            </p:cNvPr>
            <p:cNvSpPr txBox="1"/>
            <p:nvPr/>
          </p:nvSpPr>
          <p:spPr>
            <a:xfrm>
              <a:off x="4014614" y="715635"/>
              <a:ext cx="1371600" cy="360000"/>
            </a:xfrm>
            <a:prstGeom prst="rect">
              <a:avLst/>
            </a:prstGeom>
            <a:noFill/>
          </p:spPr>
          <p:txBody>
            <a:bodyPr wrap="none" lIns="0" tIns="0" rIns="0" bIns="0" rtlCol="0" anchor="ctr">
              <a:noAutofit/>
            </a:bodyPr>
            <a:lstStyle/>
            <a:p>
              <a:pPr lvl="0" indent="92075"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Explanatory documents</a:t>
              </a:r>
            </a:p>
          </p:txBody>
        </p:sp>
        <p:sp>
          <p:nvSpPr>
            <p:cNvPr id="56" name="Isosceles Triangle 55">
              <a:extLst>
                <a:ext uri="{FF2B5EF4-FFF2-40B4-BE49-F238E27FC236}">
                  <a16:creationId xmlns:a16="http://schemas.microsoft.com/office/drawing/2014/main" id="{BE50FCAA-0C0A-48F7-9720-67FE4F5736CA}"/>
                </a:ext>
              </a:extLst>
            </p:cNvPr>
            <p:cNvSpPr/>
            <p:nvPr/>
          </p:nvSpPr>
          <p:spPr>
            <a:xfrm flipV="1">
              <a:off x="5785619" y="984544"/>
              <a:ext cx="396938" cy="204380"/>
            </a:xfrm>
            <a:prstGeom prst="triangle">
              <a:avLst/>
            </a:prstGeom>
            <a:solidFill>
              <a:srgbClr val="0095D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3" name="Rectangle 2">
            <a:extLst>
              <a:ext uri="{FF2B5EF4-FFF2-40B4-BE49-F238E27FC236}">
                <a16:creationId xmlns:a16="http://schemas.microsoft.com/office/drawing/2014/main" id="{3FD89844-461C-4738-8FE5-8A8A8C36EA17}"/>
              </a:ext>
            </a:extLst>
          </p:cNvPr>
          <p:cNvSpPr/>
          <p:nvPr/>
        </p:nvSpPr>
        <p:spPr>
          <a:xfrm>
            <a:off x="4259229" y="1711591"/>
            <a:ext cx="3646691" cy="4832092"/>
          </a:xfrm>
          <a:prstGeom prst="rect">
            <a:avLst/>
          </a:prstGeom>
        </p:spPr>
        <p:txBody>
          <a:bodyPr wrap="square" anchor="t">
            <a:spAutoFit/>
          </a:bodyPr>
          <a:lstStyle/>
          <a:p>
            <a:pPr defTabSz="914400"/>
            <a:r>
              <a:rPr lang="en-US" sz="1100" b="1"/>
              <a:t>Definition</a:t>
            </a:r>
          </a:p>
          <a:p>
            <a:pPr defTabSz="914400"/>
            <a:endParaRPr lang="en-US" sz="1100"/>
          </a:p>
          <a:p>
            <a:pPr marL="228600" indent="-228600" defTabSz="914400">
              <a:buFont typeface="+mj-lt"/>
              <a:buAutoNum type="arabicPeriod"/>
            </a:pPr>
            <a:r>
              <a:rPr lang="en-US" sz="1100" b="1"/>
              <a:t>Case Record: </a:t>
            </a:r>
            <a:r>
              <a:rPr lang="en-US" sz="1100"/>
              <a:t>Case record (commonly used as Case) is the primary customer-facing entity a customer service agent uses to identify and resolve a question or an issue for an external customer within the agreed Service Level Agreements (SLAs). Case can be resolved through workaround and/or permanent solution.</a:t>
            </a:r>
            <a:br>
              <a:rPr lang="en-US" sz="1100"/>
            </a:br>
            <a:endParaRPr lang="en-US" sz="1100"/>
          </a:p>
          <a:p>
            <a:pPr marL="228600" indent="-228600" defTabSz="914400">
              <a:buFont typeface="+mj-lt"/>
              <a:buAutoNum type="arabicPeriod"/>
            </a:pPr>
            <a:r>
              <a:rPr lang="en-US" sz="1100" b="1"/>
              <a:t>Incident Record: </a:t>
            </a:r>
            <a:r>
              <a:rPr lang="en-US" sz="1100"/>
              <a:t>Incident record (commonly used as Incident) is the record type an agent or processor uses solely internally to identify and resolve: 1) an unplanned interruption or reduction in the quality of an IT service, 2) performance degradation or 3) failure of configuration item that has not yet affected the service. Incident record is used to recover the service to an acceptable level through workaround and/or permanent solution within contracted resolution time.</a:t>
            </a:r>
          </a:p>
          <a:p>
            <a:pPr defTabSz="914400"/>
            <a:endParaRPr lang="en-US" sz="1100"/>
          </a:p>
          <a:p>
            <a:pPr marL="228600" indent="-228600" defTabSz="914400">
              <a:buFont typeface="+mj-lt"/>
              <a:buAutoNum type="arabicPeriod" startAt="3"/>
            </a:pPr>
            <a:r>
              <a:rPr lang="en-US" sz="1100" b="1"/>
              <a:t>Case/Incident Management: </a:t>
            </a:r>
            <a:r>
              <a:rPr lang="en-US" sz="1100"/>
              <a:t>Case/Incident Management is the process responsible for managing the lifecycle of all cases and/or incidents. The primary objective of Case/Incident Management is to restore the normal IT service operation to customers as quickly as possible and minimize the business impact.</a:t>
            </a:r>
          </a:p>
        </p:txBody>
      </p:sp>
      <p:pic>
        <p:nvPicPr>
          <p:cNvPr id="5" name="Picture 4">
            <a:extLst>
              <a:ext uri="{FF2B5EF4-FFF2-40B4-BE49-F238E27FC236}">
                <a16:creationId xmlns:a16="http://schemas.microsoft.com/office/drawing/2014/main" id="{D15CEAC8-F05B-40EB-B8BD-66364077F1A8}"/>
              </a:ext>
            </a:extLst>
          </p:cNvPr>
          <p:cNvPicPr>
            <a:picLocks noChangeAspect="1"/>
          </p:cNvPicPr>
          <p:nvPr/>
        </p:nvPicPr>
        <p:blipFill>
          <a:blip r:embed="rId13"/>
          <a:stretch>
            <a:fillRect/>
          </a:stretch>
        </p:blipFill>
        <p:spPr>
          <a:xfrm>
            <a:off x="369657" y="4094766"/>
            <a:ext cx="666403" cy="636330"/>
          </a:xfrm>
          <a:prstGeom prst="rect">
            <a:avLst/>
          </a:prstGeom>
        </p:spPr>
      </p:pic>
      <p:sp>
        <p:nvSpPr>
          <p:cNvPr id="6" name="Rectangle 5">
            <a:extLst>
              <a:ext uri="{FF2B5EF4-FFF2-40B4-BE49-F238E27FC236}">
                <a16:creationId xmlns:a16="http://schemas.microsoft.com/office/drawing/2014/main" id="{4A37DC2D-4D78-4360-8B83-925C577D0102}"/>
              </a:ext>
            </a:extLst>
          </p:cNvPr>
          <p:cNvSpPr/>
          <p:nvPr/>
        </p:nvSpPr>
        <p:spPr>
          <a:xfrm>
            <a:off x="369486" y="3817309"/>
            <a:ext cx="3500247" cy="261610"/>
          </a:xfrm>
          <a:prstGeom prst="rect">
            <a:avLst/>
          </a:prstGeom>
        </p:spPr>
        <p:txBody>
          <a:bodyPr wrap="square" anchor="t">
            <a:spAutoFit/>
          </a:bodyPr>
          <a:lstStyle/>
          <a:p>
            <a:pPr defTabSz="914400"/>
            <a:r>
              <a:rPr lang="en-US" sz="1100">
                <a:ea typeface="ＭＳ Ｐゴシック"/>
              </a:rPr>
              <a:t>Not applicable</a:t>
            </a:r>
            <a:endParaRPr lang="en-US" sz="1100">
              <a:ea typeface="ＭＳ Ｐゴシック" pitchFamily="34" charset="-128"/>
              <a:cs typeface="Arial"/>
            </a:endParaRPr>
          </a:p>
        </p:txBody>
      </p:sp>
      <p:pic>
        <p:nvPicPr>
          <p:cNvPr id="7" name="Picture 6">
            <a:hlinkClick r:id="rId14"/>
            <a:extLst>
              <a:ext uri="{FF2B5EF4-FFF2-40B4-BE49-F238E27FC236}">
                <a16:creationId xmlns:a16="http://schemas.microsoft.com/office/drawing/2014/main" id="{F0B14FBA-82E8-4898-BFD4-8C172DA4D59B}"/>
              </a:ext>
            </a:extLst>
          </p:cNvPr>
          <p:cNvPicPr>
            <a:picLocks noChangeAspect="1"/>
          </p:cNvPicPr>
          <p:nvPr/>
        </p:nvPicPr>
        <p:blipFill>
          <a:blip r:embed="rId15"/>
          <a:stretch>
            <a:fillRect/>
          </a:stretch>
        </p:blipFill>
        <p:spPr>
          <a:xfrm>
            <a:off x="8252531" y="2535265"/>
            <a:ext cx="1469610" cy="828248"/>
          </a:xfrm>
          <a:prstGeom prst="rect">
            <a:avLst/>
          </a:prstGeom>
        </p:spPr>
      </p:pic>
      <p:sp>
        <p:nvSpPr>
          <p:cNvPr id="57" name="Rectangle 56">
            <a:extLst>
              <a:ext uri="{FF2B5EF4-FFF2-40B4-BE49-F238E27FC236}">
                <a16:creationId xmlns:a16="http://schemas.microsoft.com/office/drawing/2014/main" id="{30C52509-110C-483D-8F25-2B86C5C2B764}"/>
              </a:ext>
            </a:extLst>
          </p:cNvPr>
          <p:cNvSpPr/>
          <p:nvPr/>
        </p:nvSpPr>
        <p:spPr>
          <a:xfrm>
            <a:off x="8211289" y="3375088"/>
            <a:ext cx="2382837" cy="200055"/>
          </a:xfrm>
          <a:prstGeom prst="rect">
            <a:avLst/>
          </a:prstGeom>
        </p:spPr>
        <p:txBody>
          <a:bodyPr wrap="square">
            <a:spAutoFit/>
          </a:bodyPr>
          <a:lstStyle/>
          <a:p>
            <a:pPr defTabSz="914400"/>
            <a:r>
              <a:rPr lang="en-US" sz="700">
                <a:ea typeface="ＭＳ Ｐゴシック" pitchFamily="34" charset="-128"/>
              </a:rPr>
              <a:t>Click on the picture to open the video</a:t>
            </a:r>
          </a:p>
        </p:txBody>
      </p:sp>
      <p:pic>
        <p:nvPicPr>
          <p:cNvPr id="8" name="Picture 7">
            <a:hlinkClick r:id="rId16"/>
            <a:extLst>
              <a:ext uri="{FF2B5EF4-FFF2-40B4-BE49-F238E27FC236}">
                <a16:creationId xmlns:a16="http://schemas.microsoft.com/office/drawing/2014/main" id="{0937BB22-6D59-4778-BEC0-7385F2EBA825}"/>
              </a:ext>
            </a:extLst>
          </p:cNvPr>
          <p:cNvPicPr>
            <a:picLocks noChangeAspect="1"/>
          </p:cNvPicPr>
          <p:nvPr/>
        </p:nvPicPr>
        <p:blipFill>
          <a:blip r:embed="rId17"/>
          <a:stretch>
            <a:fillRect/>
          </a:stretch>
        </p:blipFill>
        <p:spPr>
          <a:xfrm>
            <a:off x="10368023" y="2546840"/>
            <a:ext cx="1453631" cy="828248"/>
          </a:xfrm>
          <a:prstGeom prst="rect">
            <a:avLst/>
          </a:prstGeom>
        </p:spPr>
      </p:pic>
      <p:sp>
        <p:nvSpPr>
          <p:cNvPr id="58" name="Rectangle 57">
            <a:extLst>
              <a:ext uri="{FF2B5EF4-FFF2-40B4-BE49-F238E27FC236}">
                <a16:creationId xmlns:a16="http://schemas.microsoft.com/office/drawing/2014/main" id="{0D82FD11-5CEF-4E2F-B456-0A83383A78EC}"/>
              </a:ext>
            </a:extLst>
          </p:cNvPr>
          <p:cNvSpPr/>
          <p:nvPr/>
        </p:nvSpPr>
        <p:spPr>
          <a:xfrm>
            <a:off x="8211289" y="5628096"/>
            <a:ext cx="2382837" cy="200055"/>
          </a:xfrm>
          <a:prstGeom prst="rect">
            <a:avLst/>
          </a:prstGeom>
        </p:spPr>
        <p:txBody>
          <a:bodyPr wrap="square">
            <a:spAutoFit/>
          </a:bodyPr>
          <a:lstStyle/>
          <a:p>
            <a:pPr defTabSz="914400"/>
            <a:r>
              <a:rPr lang="en-US" sz="700">
                <a:ea typeface="ＭＳ Ｐゴシック" pitchFamily="34" charset="-128"/>
              </a:rPr>
              <a:t>Click on the picture to open the video</a:t>
            </a:r>
          </a:p>
        </p:txBody>
      </p:sp>
      <p:sp>
        <p:nvSpPr>
          <p:cNvPr id="59" name="Rectangle 58">
            <a:extLst>
              <a:ext uri="{FF2B5EF4-FFF2-40B4-BE49-F238E27FC236}">
                <a16:creationId xmlns:a16="http://schemas.microsoft.com/office/drawing/2014/main" id="{058A0421-4C40-46B6-B6DD-7FC5A48A7616}"/>
              </a:ext>
            </a:extLst>
          </p:cNvPr>
          <p:cNvSpPr/>
          <p:nvPr/>
        </p:nvSpPr>
        <p:spPr>
          <a:xfrm>
            <a:off x="8182714" y="1711591"/>
            <a:ext cx="1525406" cy="261610"/>
          </a:xfrm>
          <a:prstGeom prst="rect">
            <a:avLst/>
          </a:prstGeom>
        </p:spPr>
        <p:txBody>
          <a:bodyPr wrap="square">
            <a:spAutoFit/>
          </a:bodyPr>
          <a:lstStyle/>
          <a:p>
            <a:pPr defTabSz="914400"/>
            <a:r>
              <a:rPr lang="en-US" sz="1100" b="1">
                <a:ea typeface="ＭＳ Ｐゴシック" pitchFamily="34" charset="-128"/>
              </a:rPr>
              <a:t>Case Management</a:t>
            </a:r>
          </a:p>
        </p:txBody>
      </p:sp>
      <p:sp>
        <p:nvSpPr>
          <p:cNvPr id="62" name="Rectangle 61">
            <a:extLst>
              <a:ext uri="{FF2B5EF4-FFF2-40B4-BE49-F238E27FC236}">
                <a16:creationId xmlns:a16="http://schemas.microsoft.com/office/drawing/2014/main" id="{D5AC1ADD-FE51-4FD9-B878-FD66BCAAA252}"/>
              </a:ext>
            </a:extLst>
          </p:cNvPr>
          <p:cNvSpPr/>
          <p:nvPr/>
        </p:nvSpPr>
        <p:spPr>
          <a:xfrm>
            <a:off x="10296011" y="3388857"/>
            <a:ext cx="1699139" cy="200055"/>
          </a:xfrm>
          <a:prstGeom prst="rect">
            <a:avLst/>
          </a:prstGeom>
        </p:spPr>
        <p:txBody>
          <a:bodyPr wrap="square">
            <a:spAutoFit/>
          </a:bodyPr>
          <a:lstStyle/>
          <a:p>
            <a:pPr defTabSz="914400"/>
            <a:r>
              <a:rPr lang="en-US" sz="700">
                <a:ea typeface="ＭＳ Ｐゴシック" pitchFamily="34" charset="-128"/>
              </a:rPr>
              <a:t>Click on the picture to open the video</a:t>
            </a:r>
          </a:p>
        </p:txBody>
      </p:sp>
      <p:sp>
        <p:nvSpPr>
          <p:cNvPr id="63" name="Rectangle 62">
            <a:extLst>
              <a:ext uri="{FF2B5EF4-FFF2-40B4-BE49-F238E27FC236}">
                <a16:creationId xmlns:a16="http://schemas.microsoft.com/office/drawing/2014/main" id="{66565807-F4B9-4175-AC73-B4C604A4A2FA}"/>
              </a:ext>
            </a:extLst>
          </p:cNvPr>
          <p:cNvSpPr/>
          <p:nvPr/>
        </p:nvSpPr>
        <p:spPr>
          <a:xfrm>
            <a:off x="8182714" y="3959992"/>
            <a:ext cx="1992354" cy="261610"/>
          </a:xfrm>
          <a:prstGeom prst="rect">
            <a:avLst/>
          </a:prstGeom>
        </p:spPr>
        <p:txBody>
          <a:bodyPr wrap="square">
            <a:spAutoFit/>
          </a:bodyPr>
          <a:lstStyle/>
          <a:p>
            <a:pPr defTabSz="914400"/>
            <a:r>
              <a:rPr lang="en-US" sz="1100" b="1">
                <a:ea typeface="ＭＳ Ｐゴシック" pitchFamily="34" charset="-128"/>
              </a:rPr>
              <a:t>Case/Incident Management</a:t>
            </a:r>
          </a:p>
        </p:txBody>
      </p:sp>
      <p:sp>
        <p:nvSpPr>
          <p:cNvPr id="64" name="Rectangle 63">
            <a:extLst>
              <a:ext uri="{FF2B5EF4-FFF2-40B4-BE49-F238E27FC236}">
                <a16:creationId xmlns:a16="http://schemas.microsoft.com/office/drawing/2014/main" id="{A74F0F30-716D-4314-BE84-A3868A503188}"/>
              </a:ext>
            </a:extLst>
          </p:cNvPr>
          <p:cNvSpPr/>
          <p:nvPr/>
        </p:nvSpPr>
        <p:spPr>
          <a:xfrm>
            <a:off x="8185426" y="4293485"/>
            <a:ext cx="1525406" cy="430887"/>
          </a:xfrm>
          <a:prstGeom prst="rect">
            <a:avLst/>
          </a:prstGeom>
        </p:spPr>
        <p:txBody>
          <a:bodyPr wrap="square" anchor="t">
            <a:spAutoFit/>
          </a:bodyPr>
          <a:lstStyle/>
          <a:p>
            <a:pPr defTabSz="914400"/>
            <a:r>
              <a:rPr lang="en-US" sz="1100">
                <a:ea typeface="ＭＳ Ｐゴシック"/>
              </a:rPr>
              <a:t>Process Scenario Explained [Video]</a:t>
            </a:r>
          </a:p>
        </p:txBody>
      </p:sp>
      <p:sp>
        <p:nvSpPr>
          <p:cNvPr id="65" name="Rectangle 64">
            <a:extLst>
              <a:ext uri="{FF2B5EF4-FFF2-40B4-BE49-F238E27FC236}">
                <a16:creationId xmlns:a16="http://schemas.microsoft.com/office/drawing/2014/main" id="{E7498D0D-D24F-48BE-AF4F-6FC09DC11B91}"/>
              </a:ext>
            </a:extLst>
          </p:cNvPr>
          <p:cNvSpPr/>
          <p:nvPr/>
        </p:nvSpPr>
        <p:spPr>
          <a:xfrm>
            <a:off x="10284701" y="4293485"/>
            <a:ext cx="1597653" cy="430887"/>
          </a:xfrm>
          <a:prstGeom prst="rect">
            <a:avLst/>
          </a:prstGeom>
        </p:spPr>
        <p:txBody>
          <a:bodyPr wrap="square">
            <a:spAutoFit/>
          </a:bodyPr>
          <a:lstStyle/>
          <a:p>
            <a:pPr defTabSz="914400"/>
            <a:r>
              <a:rPr lang="en-US" sz="1100">
                <a:solidFill>
                  <a:srgbClr val="000000"/>
                </a:solidFill>
                <a:ea typeface="ＭＳ Ｐゴシック" pitchFamily="34" charset="-128"/>
              </a:rPr>
              <a:t>Process in </a:t>
            </a:r>
            <a:r>
              <a:rPr lang="en-US" sz="1100" err="1">
                <a:solidFill>
                  <a:srgbClr val="000000"/>
                </a:solidFill>
                <a:ea typeface="ＭＳ Ｐゴシック" pitchFamily="34" charset="-128"/>
              </a:rPr>
              <a:t>Signavio</a:t>
            </a:r>
            <a:endParaRPr lang="en-US" sz="1100">
              <a:solidFill>
                <a:srgbClr val="000000"/>
              </a:solidFill>
              <a:ea typeface="ＭＳ Ｐゴシック" pitchFamily="34" charset="-128"/>
            </a:endParaRPr>
          </a:p>
          <a:p>
            <a:pPr defTabSz="914400"/>
            <a:r>
              <a:rPr lang="en-US" sz="1100">
                <a:solidFill>
                  <a:srgbClr val="000000"/>
                </a:solidFill>
                <a:ea typeface="ＭＳ Ｐゴシック" pitchFamily="34" charset="-128"/>
              </a:rPr>
              <a:t>[Video]</a:t>
            </a:r>
            <a:endParaRPr lang="en-US" sz="1100">
              <a:solidFill>
                <a:srgbClr val="FF0000"/>
              </a:solidFill>
              <a:ea typeface="ＭＳ Ｐゴシック" pitchFamily="34" charset="-128"/>
            </a:endParaRPr>
          </a:p>
        </p:txBody>
      </p:sp>
      <p:pic>
        <p:nvPicPr>
          <p:cNvPr id="9" name="Picture 8">
            <a:hlinkClick r:id="rId18"/>
            <a:extLst>
              <a:ext uri="{FF2B5EF4-FFF2-40B4-BE49-F238E27FC236}">
                <a16:creationId xmlns:a16="http://schemas.microsoft.com/office/drawing/2014/main" id="{7C9CA091-C5BF-49B2-88D5-36EC319C4E2D}"/>
              </a:ext>
            </a:extLst>
          </p:cNvPr>
          <p:cNvPicPr>
            <a:picLocks noChangeAspect="1"/>
          </p:cNvPicPr>
          <p:nvPr/>
        </p:nvPicPr>
        <p:blipFill>
          <a:blip r:embed="rId19"/>
          <a:stretch>
            <a:fillRect/>
          </a:stretch>
        </p:blipFill>
        <p:spPr>
          <a:xfrm>
            <a:off x="8261086" y="4764294"/>
            <a:ext cx="1461055" cy="817629"/>
          </a:xfrm>
          <a:prstGeom prst="rect">
            <a:avLst/>
          </a:prstGeom>
        </p:spPr>
      </p:pic>
      <p:pic>
        <p:nvPicPr>
          <p:cNvPr id="10" name="Picture 9">
            <a:hlinkClick r:id="rId20"/>
            <a:extLst>
              <a:ext uri="{FF2B5EF4-FFF2-40B4-BE49-F238E27FC236}">
                <a16:creationId xmlns:a16="http://schemas.microsoft.com/office/drawing/2014/main" id="{659688A0-806F-4649-885F-CBB25320646F}"/>
              </a:ext>
            </a:extLst>
          </p:cNvPr>
          <p:cNvPicPr>
            <a:picLocks noChangeAspect="1"/>
          </p:cNvPicPr>
          <p:nvPr/>
        </p:nvPicPr>
        <p:blipFill>
          <a:blip r:embed="rId21"/>
          <a:stretch>
            <a:fillRect/>
          </a:stretch>
        </p:blipFill>
        <p:spPr>
          <a:xfrm>
            <a:off x="10368023" y="4764294"/>
            <a:ext cx="1422568" cy="799766"/>
          </a:xfrm>
          <a:prstGeom prst="rect">
            <a:avLst/>
          </a:prstGeom>
        </p:spPr>
      </p:pic>
      <p:sp>
        <p:nvSpPr>
          <p:cNvPr id="66" name="Rectangle 65">
            <a:extLst>
              <a:ext uri="{FF2B5EF4-FFF2-40B4-BE49-F238E27FC236}">
                <a16:creationId xmlns:a16="http://schemas.microsoft.com/office/drawing/2014/main" id="{000D80A9-A3A4-4218-9EC6-8AFFED913BD2}"/>
              </a:ext>
            </a:extLst>
          </p:cNvPr>
          <p:cNvSpPr/>
          <p:nvPr/>
        </p:nvSpPr>
        <p:spPr>
          <a:xfrm>
            <a:off x="10296011" y="5628095"/>
            <a:ext cx="1699139" cy="200055"/>
          </a:xfrm>
          <a:prstGeom prst="rect">
            <a:avLst/>
          </a:prstGeom>
        </p:spPr>
        <p:txBody>
          <a:bodyPr wrap="square">
            <a:spAutoFit/>
          </a:bodyPr>
          <a:lstStyle/>
          <a:p>
            <a:pPr defTabSz="914400"/>
            <a:r>
              <a:rPr lang="en-US" sz="700">
                <a:ea typeface="ＭＳ Ｐゴシック" pitchFamily="34" charset="-128"/>
              </a:rPr>
              <a:t>Click on the picture to open the video</a:t>
            </a:r>
          </a:p>
        </p:txBody>
      </p:sp>
      <p:pic>
        <p:nvPicPr>
          <p:cNvPr id="11" name="Picture 11">
            <a:extLst>
              <a:ext uri="{FF2B5EF4-FFF2-40B4-BE49-F238E27FC236}">
                <a16:creationId xmlns:a16="http://schemas.microsoft.com/office/drawing/2014/main" id="{44A3ACA2-C86B-4925-8925-69B11548990F}"/>
              </a:ext>
            </a:extLst>
          </p:cNvPr>
          <p:cNvPicPr>
            <a:picLocks noChangeAspect="1"/>
          </p:cNvPicPr>
          <p:nvPr/>
        </p:nvPicPr>
        <p:blipFill>
          <a:blip r:embed="rId22">
            <a:extLst>
              <a:ext uri="{BEBA8EAE-BF5A-486C-A8C5-ECC9F3942E4B}">
                <a14:imgProps xmlns:a14="http://schemas.microsoft.com/office/drawing/2010/main">
                  <a14:imgLayer r:embed="rId23">
                    <a14:imgEffect>
                      <a14:backgroundRemoval t="8861" b="96203" l="8511" r="92553">
                        <a14:foregroundMark x1="65957" y1="64557" x2="65957" y2="64557"/>
                        <a14:foregroundMark x1="64894" y1="89873" x2="64894" y2="89873"/>
                        <a14:foregroundMark x1="62766" y1="49367" x2="62766" y2="49367"/>
                        <a14:foregroundMark x1="65957" y1="96203" x2="65957" y2="96203"/>
                        <a14:foregroundMark x1="92553" y1="35443" x2="92553" y2="35443"/>
                        <a14:foregroundMark x1="60638" y1="10127" x2="60638" y2="10127"/>
                        <a14:backgroundMark x1="31915" y1="17722" x2="31915" y2="17722"/>
                        <a14:backgroundMark x1="10638" y1="73418" x2="10638" y2="73418"/>
                        <a14:backgroundMark x1="79787" y1="65823" x2="79787" y2="65823"/>
                        <a14:backgroundMark x1="75532" y1="41772" x2="75532" y2="41772"/>
                        <a14:backgroundMark x1="88298" y1="10127" x2="88298" y2="10127"/>
                      </a14:backgroundRemoval>
                    </a14:imgEffect>
                  </a14:imgLayer>
                </a14:imgProps>
              </a:ext>
            </a:extLst>
          </a:blip>
          <a:stretch>
            <a:fillRect/>
          </a:stretch>
        </p:blipFill>
        <p:spPr>
          <a:xfrm>
            <a:off x="8346859" y="1172532"/>
            <a:ext cx="413466" cy="288518"/>
          </a:xfrm>
          <a:prstGeom prst="rect">
            <a:avLst/>
          </a:prstGeom>
        </p:spPr>
      </p:pic>
    </p:spTree>
    <p:extLst>
      <p:ext uri="{BB962C8B-B14F-4D97-AF65-F5344CB8AC3E}">
        <p14:creationId xmlns:p14="http://schemas.microsoft.com/office/powerpoint/2010/main" val="26210753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05B5FF9-9B22-4FFF-B41D-0F63D084F0F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6" imgW="395" imgH="396" progId="TCLayout.ActiveDocument.1">
                  <p:embed/>
                </p:oleObj>
              </mc:Choice>
              <mc:Fallback>
                <p:oleObj name="think-cell Slide" r:id="rId6" imgW="395" imgH="396" progId="TCLayout.ActiveDocument.1">
                  <p:embed/>
                  <p:pic>
                    <p:nvPicPr>
                      <p:cNvPr id="4" name="Object 3" hidden="1">
                        <a:extLst>
                          <a:ext uri="{FF2B5EF4-FFF2-40B4-BE49-F238E27FC236}">
                            <a16:creationId xmlns:a16="http://schemas.microsoft.com/office/drawing/2014/main" id="{205B5FF9-9B22-4FFF-B41D-0F63D084F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53C733-5B66-41A2-AC5F-9C8B7DCDE77F}"/>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en-US" sz="2400" b="1" u="none" strike="noStrike" kern="0" cap="none" spc="0" normalizeH="0" noProof="0">
              <a:ln>
                <a:noFill/>
              </a:ln>
              <a:effectLst/>
              <a:uLnTx/>
              <a:uFillTx/>
              <a:latin typeface="Arial" panose="020B0604020202020204" pitchFamily="34" charset="0"/>
              <a:ea typeface="+mj-ea"/>
              <a:cs typeface="+mj-cs"/>
              <a:sym typeface="Arial" panose="020B0604020202020204" pitchFamily="34" charset="0"/>
            </a:endParaRPr>
          </a:p>
        </p:txBody>
      </p:sp>
      <p:sp>
        <p:nvSpPr>
          <p:cNvPr id="24" name="Title"/>
          <p:cNvSpPr>
            <a:spLocks noGrp="1"/>
          </p:cNvSpPr>
          <p:nvPr>
            <p:ph type="title"/>
          </p:nvPr>
        </p:nvSpPr>
        <p:spPr bwMode="gray">
          <a:xfrm>
            <a:off x="504001" y="504000"/>
            <a:ext cx="9720000" cy="369332"/>
          </a:xfrm>
        </p:spPr>
        <p:txBody>
          <a:bodyPr/>
          <a:lstStyle/>
          <a:p>
            <a:r>
              <a:rPr lang="en-US"/>
              <a:t>Harmonized Customer Service Management (HCSM) Terminology</a:t>
            </a:r>
          </a:p>
        </p:txBody>
      </p:sp>
      <p:sp>
        <p:nvSpPr>
          <p:cNvPr id="22" name="Rectangle 21">
            <a:extLst>
              <a:ext uri="{FF2B5EF4-FFF2-40B4-BE49-F238E27FC236}">
                <a16:creationId xmlns:a16="http://schemas.microsoft.com/office/drawing/2014/main" id="{1A15397A-139C-4968-9BFE-F6ABEB7110D5}"/>
              </a:ext>
            </a:extLst>
          </p:cNvPr>
          <p:cNvSpPr/>
          <p:nvPr/>
        </p:nvSpPr>
        <p:spPr>
          <a:xfrm>
            <a:off x="309489" y="1867439"/>
            <a:ext cx="3634896" cy="430887"/>
          </a:xfrm>
          <a:prstGeom prst="rect">
            <a:avLst/>
          </a:prstGeom>
        </p:spPr>
        <p:txBody>
          <a:bodyPr wrap="square" anchor="t">
            <a:spAutoFit/>
          </a:bodyPr>
          <a:lstStyle/>
          <a:p>
            <a:pPr defTabSz="914400"/>
            <a:r>
              <a:rPr lang="en-US" sz="1100">
                <a:solidFill>
                  <a:srgbClr val="000000"/>
                </a:solidFill>
                <a:ea typeface="ＭＳ Ｐゴシック"/>
              </a:rPr>
              <a:t>This document explains the term </a:t>
            </a:r>
            <a:r>
              <a:rPr lang="en-US" sz="1100" b="1">
                <a:solidFill>
                  <a:srgbClr val="000000"/>
                </a:solidFill>
                <a:ea typeface="ＭＳ Ｐゴシック"/>
              </a:rPr>
              <a:t>Service Level Agreement and its related terms.</a:t>
            </a:r>
            <a:endParaRPr lang="en-US" sz="1100" b="1">
              <a:solidFill>
                <a:srgbClr val="000000"/>
              </a:solidFill>
              <a:ea typeface="ＭＳ Ｐゴシック" pitchFamily="34" charset="-128"/>
            </a:endParaRPr>
          </a:p>
        </p:txBody>
      </p:sp>
      <p:sp>
        <p:nvSpPr>
          <p:cNvPr id="25" name="Rectangle 24">
            <a:extLst>
              <a:ext uri="{FF2B5EF4-FFF2-40B4-BE49-F238E27FC236}">
                <a16:creationId xmlns:a16="http://schemas.microsoft.com/office/drawing/2014/main" id="{0F7FA3AC-2E37-4C1D-899F-43D804EDA184}"/>
              </a:ext>
            </a:extLst>
          </p:cNvPr>
          <p:cNvSpPr/>
          <p:nvPr/>
        </p:nvSpPr>
        <p:spPr>
          <a:xfrm>
            <a:off x="373521" y="2875383"/>
            <a:ext cx="2921113" cy="261610"/>
          </a:xfrm>
          <a:prstGeom prst="rect">
            <a:avLst/>
          </a:prstGeom>
        </p:spPr>
        <p:txBody>
          <a:bodyPr wrap="square">
            <a:spAutoFit/>
          </a:bodyPr>
          <a:lstStyle/>
          <a:p>
            <a:pPr defTabSz="914400">
              <a:buClr>
                <a:srgbClr val="003068"/>
              </a:buClr>
            </a:pPr>
            <a:r>
              <a:rPr lang="en-US" sz="1100">
                <a:solidFill>
                  <a:srgbClr val="000000"/>
                </a:solidFill>
                <a:ea typeface="ＭＳ Ｐゴシック" pitchFamily="34" charset="-128"/>
              </a:rPr>
              <a:t>Support, Development, and Operations</a:t>
            </a:r>
          </a:p>
        </p:txBody>
      </p:sp>
      <p:cxnSp>
        <p:nvCxnSpPr>
          <p:cNvPr id="26" name="Straight Connector 25">
            <a:extLst>
              <a:ext uri="{FF2B5EF4-FFF2-40B4-BE49-F238E27FC236}">
                <a16:creationId xmlns:a16="http://schemas.microsoft.com/office/drawing/2014/main" id="{4DDE0BC5-D2CC-4A9F-B156-8FEBE451986D}"/>
              </a:ext>
            </a:extLst>
          </p:cNvPr>
          <p:cNvCxnSpPr>
            <a:cxnSpLocks/>
          </p:cNvCxnSpPr>
          <p:nvPr/>
        </p:nvCxnSpPr>
        <p:spPr>
          <a:xfrm>
            <a:off x="4052248" y="1075408"/>
            <a:ext cx="24466" cy="5474056"/>
          </a:xfrm>
          <a:prstGeom prst="line">
            <a:avLst/>
          </a:prstGeom>
          <a:ln w="6350">
            <a:solidFill>
              <a:srgbClr val="0095D3">
                <a:alpha val="50000"/>
              </a:srgb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44BFDF2-6F65-4134-ADA9-E8F6643D24A6}"/>
              </a:ext>
            </a:extLst>
          </p:cNvPr>
          <p:cNvCxnSpPr>
            <a:cxnSpLocks/>
          </p:cNvCxnSpPr>
          <p:nvPr/>
        </p:nvCxnSpPr>
        <p:spPr>
          <a:xfrm>
            <a:off x="7999722" y="1069374"/>
            <a:ext cx="24466" cy="5474056"/>
          </a:xfrm>
          <a:prstGeom prst="line">
            <a:avLst/>
          </a:prstGeom>
          <a:ln w="6350">
            <a:solidFill>
              <a:srgbClr val="0095D3">
                <a:alpha val="50000"/>
              </a:srgb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758CF31-74D6-4044-B856-556C9E2081FD}"/>
              </a:ext>
            </a:extLst>
          </p:cNvPr>
          <p:cNvSpPr txBox="1"/>
          <p:nvPr/>
        </p:nvSpPr>
        <p:spPr>
          <a:xfrm>
            <a:off x="940596" y="1179874"/>
            <a:ext cx="1605995" cy="3600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Description</a:t>
            </a:r>
            <a:endParaRPr lang="en-US" sz="1800">
              <a:solidFill>
                <a:srgbClr val="717074"/>
              </a:solidFill>
            </a:endParaRPr>
          </a:p>
        </p:txBody>
      </p:sp>
      <p:grpSp>
        <p:nvGrpSpPr>
          <p:cNvPr id="31" name="Group 30">
            <a:extLst>
              <a:ext uri="{FF2B5EF4-FFF2-40B4-BE49-F238E27FC236}">
                <a16:creationId xmlns:a16="http://schemas.microsoft.com/office/drawing/2014/main" id="{661D79AC-0556-4189-96B2-BBF3BA0DFC47}"/>
              </a:ext>
            </a:extLst>
          </p:cNvPr>
          <p:cNvGrpSpPr>
            <a:grpSpLocks noChangeAspect="1"/>
          </p:cNvGrpSpPr>
          <p:nvPr/>
        </p:nvGrpSpPr>
        <p:grpSpPr>
          <a:xfrm>
            <a:off x="630255" y="1210507"/>
            <a:ext cx="416203" cy="317631"/>
            <a:chOff x="3494088" y="5276851"/>
            <a:chExt cx="939801" cy="839788"/>
          </a:xfrm>
          <a:solidFill>
            <a:schemeClr val="bg1"/>
          </a:solidFill>
        </p:grpSpPr>
        <p:sp>
          <p:nvSpPr>
            <p:cNvPr id="32" name="Freeform 1961">
              <a:extLst>
                <a:ext uri="{FF2B5EF4-FFF2-40B4-BE49-F238E27FC236}">
                  <a16:creationId xmlns:a16="http://schemas.microsoft.com/office/drawing/2014/main" id="{BD0ED1A1-6215-4E00-92FD-EA257CE3808A}"/>
                </a:ext>
              </a:extLst>
            </p:cNvPr>
            <p:cNvSpPr>
              <a:spLocks/>
            </p:cNvSpPr>
            <p:nvPr/>
          </p:nvSpPr>
          <p:spPr bwMode="auto">
            <a:xfrm>
              <a:off x="3494088" y="5276851"/>
              <a:ext cx="687388" cy="839788"/>
            </a:xfrm>
            <a:custGeom>
              <a:avLst/>
              <a:gdLst>
                <a:gd name="T0" fmla="*/ 401 w 433"/>
                <a:gd name="T1" fmla="*/ 370 h 529"/>
                <a:gd name="T2" fmla="*/ 401 w 433"/>
                <a:gd name="T3" fmla="*/ 473 h 529"/>
                <a:gd name="T4" fmla="*/ 399 w 433"/>
                <a:gd name="T5" fmla="*/ 482 h 529"/>
                <a:gd name="T6" fmla="*/ 394 w 433"/>
                <a:gd name="T7" fmla="*/ 490 h 529"/>
                <a:gd name="T8" fmla="*/ 386 w 433"/>
                <a:gd name="T9" fmla="*/ 495 h 529"/>
                <a:gd name="T10" fmla="*/ 376 w 433"/>
                <a:gd name="T11" fmla="*/ 497 h 529"/>
                <a:gd name="T12" fmla="*/ 57 w 433"/>
                <a:gd name="T13" fmla="*/ 497 h 529"/>
                <a:gd name="T14" fmla="*/ 47 w 433"/>
                <a:gd name="T15" fmla="*/ 495 h 529"/>
                <a:gd name="T16" fmla="*/ 40 w 433"/>
                <a:gd name="T17" fmla="*/ 490 h 529"/>
                <a:gd name="T18" fmla="*/ 35 w 433"/>
                <a:gd name="T19" fmla="*/ 482 h 529"/>
                <a:gd name="T20" fmla="*/ 33 w 433"/>
                <a:gd name="T21" fmla="*/ 473 h 529"/>
                <a:gd name="T22" fmla="*/ 33 w 433"/>
                <a:gd name="T23" fmla="*/ 56 h 529"/>
                <a:gd name="T24" fmla="*/ 35 w 433"/>
                <a:gd name="T25" fmla="*/ 47 h 529"/>
                <a:gd name="T26" fmla="*/ 40 w 433"/>
                <a:gd name="T27" fmla="*/ 39 h 529"/>
                <a:gd name="T28" fmla="*/ 47 w 433"/>
                <a:gd name="T29" fmla="*/ 34 h 529"/>
                <a:gd name="T30" fmla="*/ 57 w 433"/>
                <a:gd name="T31" fmla="*/ 32 h 529"/>
                <a:gd name="T32" fmla="*/ 376 w 433"/>
                <a:gd name="T33" fmla="*/ 32 h 529"/>
                <a:gd name="T34" fmla="*/ 386 w 433"/>
                <a:gd name="T35" fmla="*/ 34 h 529"/>
                <a:gd name="T36" fmla="*/ 394 w 433"/>
                <a:gd name="T37" fmla="*/ 39 h 529"/>
                <a:gd name="T38" fmla="*/ 399 w 433"/>
                <a:gd name="T39" fmla="*/ 47 h 529"/>
                <a:gd name="T40" fmla="*/ 401 w 433"/>
                <a:gd name="T41" fmla="*/ 56 h 529"/>
                <a:gd name="T42" fmla="*/ 401 w 433"/>
                <a:gd name="T43" fmla="*/ 192 h 529"/>
                <a:gd name="T44" fmla="*/ 433 w 433"/>
                <a:gd name="T45" fmla="*/ 169 h 529"/>
                <a:gd name="T46" fmla="*/ 433 w 433"/>
                <a:gd name="T47" fmla="*/ 56 h 529"/>
                <a:gd name="T48" fmla="*/ 430 w 433"/>
                <a:gd name="T49" fmla="*/ 39 h 529"/>
                <a:gd name="T50" fmla="*/ 422 w 433"/>
                <a:gd name="T51" fmla="*/ 23 h 529"/>
                <a:gd name="T52" fmla="*/ 410 w 433"/>
                <a:gd name="T53" fmla="*/ 11 h 529"/>
                <a:gd name="T54" fmla="*/ 394 w 433"/>
                <a:gd name="T55" fmla="*/ 3 h 529"/>
                <a:gd name="T56" fmla="*/ 376 w 433"/>
                <a:gd name="T57" fmla="*/ 0 h 529"/>
                <a:gd name="T58" fmla="*/ 57 w 433"/>
                <a:gd name="T59" fmla="*/ 0 h 529"/>
                <a:gd name="T60" fmla="*/ 39 w 433"/>
                <a:gd name="T61" fmla="*/ 3 h 529"/>
                <a:gd name="T62" fmla="*/ 24 w 433"/>
                <a:gd name="T63" fmla="*/ 11 h 529"/>
                <a:gd name="T64" fmla="*/ 11 w 433"/>
                <a:gd name="T65" fmla="*/ 23 h 529"/>
                <a:gd name="T66" fmla="*/ 3 w 433"/>
                <a:gd name="T67" fmla="*/ 39 h 529"/>
                <a:gd name="T68" fmla="*/ 0 w 433"/>
                <a:gd name="T69" fmla="*/ 56 h 529"/>
                <a:gd name="T70" fmla="*/ 0 w 433"/>
                <a:gd name="T71" fmla="*/ 473 h 529"/>
                <a:gd name="T72" fmla="*/ 3 w 433"/>
                <a:gd name="T73" fmla="*/ 490 h 529"/>
                <a:gd name="T74" fmla="*/ 11 w 433"/>
                <a:gd name="T75" fmla="*/ 506 h 529"/>
                <a:gd name="T76" fmla="*/ 24 w 433"/>
                <a:gd name="T77" fmla="*/ 518 h 529"/>
                <a:gd name="T78" fmla="*/ 39 w 433"/>
                <a:gd name="T79" fmla="*/ 526 h 529"/>
                <a:gd name="T80" fmla="*/ 57 w 433"/>
                <a:gd name="T81" fmla="*/ 529 h 529"/>
                <a:gd name="T82" fmla="*/ 376 w 433"/>
                <a:gd name="T83" fmla="*/ 529 h 529"/>
                <a:gd name="T84" fmla="*/ 394 w 433"/>
                <a:gd name="T85" fmla="*/ 526 h 529"/>
                <a:gd name="T86" fmla="*/ 410 w 433"/>
                <a:gd name="T87" fmla="*/ 518 h 529"/>
                <a:gd name="T88" fmla="*/ 422 w 433"/>
                <a:gd name="T89" fmla="*/ 506 h 529"/>
                <a:gd name="T90" fmla="*/ 430 w 433"/>
                <a:gd name="T91" fmla="*/ 490 h 529"/>
                <a:gd name="T92" fmla="*/ 433 w 433"/>
                <a:gd name="T93" fmla="*/ 473 h 529"/>
                <a:gd name="T94" fmla="*/ 433 w 433"/>
                <a:gd name="T95" fmla="*/ 346 h 529"/>
                <a:gd name="T96" fmla="*/ 401 w 433"/>
                <a:gd name="T97" fmla="*/ 37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3" h="529">
                  <a:moveTo>
                    <a:pt x="401" y="370"/>
                  </a:moveTo>
                  <a:lnTo>
                    <a:pt x="401" y="473"/>
                  </a:lnTo>
                  <a:lnTo>
                    <a:pt x="399" y="482"/>
                  </a:lnTo>
                  <a:lnTo>
                    <a:pt x="394" y="490"/>
                  </a:lnTo>
                  <a:lnTo>
                    <a:pt x="386" y="495"/>
                  </a:lnTo>
                  <a:lnTo>
                    <a:pt x="376" y="497"/>
                  </a:lnTo>
                  <a:lnTo>
                    <a:pt x="57" y="497"/>
                  </a:lnTo>
                  <a:lnTo>
                    <a:pt x="47" y="495"/>
                  </a:lnTo>
                  <a:lnTo>
                    <a:pt x="40" y="490"/>
                  </a:lnTo>
                  <a:lnTo>
                    <a:pt x="35" y="482"/>
                  </a:lnTo>
                  <a:lnTo>
                    <a:pt x="33" y="473"/>
                  </a:lnTo>
                  <a:lnTo>
                    <a:pt x="33" y="56"/>
                  </a:lnTo>
                  <a:lnTo>
                    <a:pt x="35" y="47"/>
                  </a:lnTo>
                  <a:lnTo>
                    <a:pt x="40" y="39"/>
                  </a:lnTo>
                  <a:lnTo>
                    <a:pt x="47" y="34"/>
                  </a:lnTo>
                  <a:lnTo>
                    <a:pt x="57" y="32"/>
                  </a:lnTo>
                  <a:lnTo>
                    <a:pt x="376" y="32"/>
                  </a:lnTo>
                  <a:lnTo>
                    <a:pt x="386" y="34"/>
                  </a:lnTo>
                  <a:lnTo>
                    <a:pt x="394" y="39"/>
                  </a:lnTo>
                  <a:lnTo>
                    <a:pt x="399" y="47"/>
                  </a:lnTo>
                  <a:lnTo>
                    <a:pt x="401" y="56"/>
                  </a:lnTo>
                  <a:lnTo>
                    <a:pt x="401" y="192"/>
                  </a:lnTo>
                  <a:lnTo>
                    <a:pt x="433" y="169"/>
                  </a:lnTo>
                  <a:lnTo>
                    <a:pt x="433" y="56"/>
                  </a:lnTo>
                  <a:lnTo>
                    <a:pt x="430" y="39"/>
                  </a:lnTo>
                  <a:lnTo>
                    <a:pt x="422" y="23"/>
                  </a:lnTo>
                  <a:lnTo>
                    <a:pt x="410" y="11"/>
                  </a:lnTo>
                  <a:lnTo>
                    <a:pt x="394" y="3"/>
                  </a:lnTo>
                  <a:lnTo>
                    <a:pt x="376" y="0"/>
                  </a:lnTo>
                  <a:lnTo>
                    <a:pt x="57" y="0"/>
                  </a:lnTo>
                  <a:lnTo>
                    <a:pt x="39" y="3"/>
                  </a:lnTo>
                  <a:lnTo>
                    <a:pt x="24" y="11"/>
                  </a:lnTo>
                  <a:lnTo>
                    <a:pt x="11" y="23"/>
                  </a:lnTo>
                  <a:lnTo>
                    <a:pt x="3" y="39"/>
                  </a:lnTo>
                  <a:lnTo>
                    <a:pt x="0" y="56"/>
                  </a:lnTo>
                  <a:lnTo>
                    <a:pt x="0" y="473"/>
                  </a:lnTo>
                  <a:lnTo>
                    <a:pt x="3" y="490"/>
                  </a:lnTo>
                  <a:lnTo>
                    <a:pt x="11" y="506"/>
                  </a:lnTo>
                  <a:lnTo>
                    <a:pt x="24" y="518"/>
                  </a:lnTo>
                  <a:lnTo>
                    <a:pt x="39" y="526"/>
                  </a:lnTo>
                  <a:lnTo>
                    <a:pt x="57" y="529"/>
                  </a:lnTo>
                  <a:lnTo>
                    <a:pt x="376" y="529"/>
                  </a:lnTo>
                  <a:lnTo>
                    <a:pt x="394" y="526"/>
                  </a:lnTo>
                  <a:lnTo>
                    <a:pt x="410" y="518"/>
                  </a:lnTo>
                  <a:lnTo>
                    <a:pt x="422" y="506"/>
                  </a:lnTo>
                  <a:lnTo>
                    <a:pt x="430" y="490"/>
                  </a:lnTo>
                  <a:lnTo>
                    <a:pt x="433" y="473"/>
                  </a:lnTo>
                  <a:lnTo>
                    <a:pt x="433" y="346"/>
                  </a:lnTo>
                  <a:lnTo>
                    <a:pt x="401" y="3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3" name="Freeform 1962">
              <a:extLst>
                <a:ext uri="{FF2B5EF4-FFF2-40B4-BE49-F238E27FC236}">
                  <a16:creationId xmlns:a16="http://schemas.microsoft.com/office/drawing/2014/main" id="{CDFE449F-26EC-4FF6-BD98-56F1CDD47373}"/>
                </a:ext>
              </a:extLst>
            </p:cNvPr>
            <p:cNvSpPr>
              <a:spLocks noEditPoints="1"/>
            </p:cNvSpPr>
            <p:nvPr/>
          </p:nvSpPr>
          <p:spPr bwMode="auto">
            <a:xfrm>
              <a:off x="3965576" y="5475288"/>
              <a:ext cx="468313" cy="377825"/>
            </a:xfrm>
            <a:custGeom>
              <a:avLst/>
              <a:gdLst>
                <a:gd name="T0" fmla="*/ 257 w 295"/>
                <a:gd name="T1" fmla="*/ 5 h 238"/>
                <a:gd name="T2" fmla="*/ 230 w 295"/>
                <a:gd name="T3" fmla="*/ 1 h 238"/>
                <a:gd name="T4" fmla="*/ 43 w 295"/>
                <a:gd name="T5" fmla="*/ 136 h 238"/>
                <a:gd name="T6" fmla="*/ 34 w 295"/>
                <a:gd name="T7" fmla="*/ 154 h 238"/>
                <a:gd name="T8" fmla="*/ 15 w 295"/>
                <a:gd name="T9" fmla="*/ 189 h 238"/>
                <a:gd name="T10" fmla="*/ 3 w 295"/>
                <a:gd name="T11" fmla="*/ 213 h 238"/>
                <a:gd name="T12" fmla="*/ 0 w 295"/>
                <a:gd name="T13" fmla="*/ 224 h 238"/>
                <a:gd name="T14" fmla="*/ 6 w 295"/>
                <a:gd name="T15" fmla="*/ 237 h 238"/>
                <a:gd name="T16" fmla="*/ 37 w 295"/>
                <a:gd name="T17" fmla="*/ 235 h 238"/>
                <a:gd name="T18" fmla="*/ 82 w 295"/>
                <a:gd name="T19" fmla="*/ 225 h 238"/>
                <a:gd name="T20" fmla="*/ 104 w 295"/>
                <a:gd name="T21" fmla="*/ 219 h 238"/>
                <a:gd name="T22" fmla="*/ 282 w 295"/>
                <a:gd name="T23" fmla="*/ 89 h 238"/>
                <a:gd name="T24" fmla="*/ 294 w 295"/>
                <a:gd name="T25" fmla="*/ 56 h 238"/>
                <a:gd name="T26" fmla="*/ 34 w 295"/>
                <a:gd name="T27" fmla="*/ 211 h 238"/>
                <a:gd name="T28" fmla="*/ 29 w 295"/>
                <a:gd name="T29" fmla="*/ 195 h 238"/>
                <a:gd name="T30" fmla="*/ 41 w 295"/>
                <a:gd name="T31" fmla="*/ 172 h 238"/>
                <a:gd name="T32" fmla="*/ 77 w 295"/>
                <a:gd name="T33" fmla="*/ 210 h 238"/>
                <a:gd name="T34" fmla="*/ 59 w 295"/>
                <a:gd name="T35" fmla="*/ 214 h 238"/>
                <a:gd name="T36" fmla="*/ 88 w 295"/>
                <a:gd name="T37" fmla="*/ 140 h 238"/>
                <a:gd name="T38" fmla="*/ 83 w 295"/>
                <a:gd name="T39" fmla="*/ 137 h 238"/>
                <a:gd name="T40" fmla="*/ 83 w 295"/>
                <a:gd name="T41" fmla="*/ 131 h 238"/>
                <a:gd name="T42" fmla="*/ 182 w 295"/>
                <a:gd name="T43" fmla="*/ 57 h 238"/>
                <a:gd name="T44" fmla="*/ 188 w 295"/>
                <a:gd name="T45" fmla="*/ 60 h 238"/>
                <a:gd name="T46" fmla="*/ 188 w 295"/>
                <a:gd name="T47" fmla="*/ 66 h 238"/>
                <a:gd name="T48" fmla="*/ 90 w 295"/>
                <a:gd name="T49" fmla="*/ 140 h 238"/>
                <a:gd name="T50" fmla="*/ 102 w 295"/>
                <a:gd name="T51" fmla="*/ 161 h 238"/>
                <a:gd name="T52" fmla="*/ 98 w 295"/>
                <a:gd name="T53" fmla="*/ 157 h 238"/>
                <a:gd name="T54" fmla="*/ 100 w 295"/>
                <a:gd name="T55" fmla="*/ 151 h 238"/>
                <a:gd name="T56" fmla="*/ 201 w 295"/>
                <a:gd name="T57" fmla="*/ 79 h 238"/>
                <a:gd name="T58" fmla="*/ 206 w 295"/>
                <a:gd name="T59" fmla="*/ 84 h 238"/>
                <a:gd name="T60" fmla="*/ 204 w 295"/>
                <a:gd name="T61" fmla="*/ 90 h 238"/>
                <a:gd name="T62" fmla="*/ 104 w 295"/>
                <a:gd name="T63" fmla="*/ 162 h 238"/>
                <a:gd name="T64" fmla="*/ 122 w 295"/>
                <a:gd name="T65" fmla="*/ 183 h 238"/>
                <a:gd name="T66" fmla="*/ 117 w 295"/>
                <a:gd name="T67" fmla="*/ 182 h 238"/>
                <a:gd name="T68" fmla="*/ 114 w 295"/>
                <a:gd name="T69" fmla="*/ 176 h 238"/>
                <a:gd name="T70" fmla="*/ 213 w 295"/>
                <a:gd name="T71" fmla="*/ 102 h 238"/>
                <a:gd name="T72" fmla="*/ 220 w 295"/>
                <a:gd name="T73" fmla="*/ 102 h 238"/>
                <a:gd name="T74" fmla="*/ 222 w 295"/>
                <a:gd name="T75" fmla="*/ 108 h 238"/>
                <a:gd name="T76" fmla="*/ 271 w 295"/>
                <a:gd name="T77" fmla="*/ 74 h 238"/>
                <a:gd name="T78" fmla="*/ 232 w 295"/>
                <a:gd name="T79" fmla="*/ 20 h 238"/>
                <a:gd name="T80" fmla="*/ 239 w 295"/>
                <a:gd name="T81" fmla="*/ 18 h 238"/>
                <a:gd name="T82" fmla="*/ 250 w 295"/>
                <a:gd name="T83" fmla="*/ 23 h 238"/>
                <a:gd name="T84" fmla="*/ 276 w 295"/>
                <a:gd name="T85" fmla="*/ 6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5" h="238">
                  <a:moveTo>
                    <a:pt x="289" y="45"/>
                  </a:moveTo>
                  <a:lnTo>
                    <a:pt x="265" y="12"/>
                  </a:lnTo>
                  <a:lnTo>
                    <a:pt x="257" y="5"/>
                  </a:lnTo>
                  <a:lnTo>
                    <a:pt x="249" y="1"/>
                  </a:lnTo>
                  <a:lnTo>
                    <a:pt x="239" y="0"/>
                  </a:lnTo>
                  <a:lnTo>
                    <a:pt x="230" y="1"/>
                  </a:lnTo>
                  <a:lnTo>
                    <a:pt x="221" y="6"/>
                  </a:lnTo>
                  <a:lnTo>
                    <a:pt x="203" y="19"/>
                  </a:lnTo>
                  <a:lnTo>
                    <a:pt x="43" y="136"/>
                  </a:lnTo>
                  <a:lnTo>
                    <a:pt x="42" y="139"/>
                  </a:lnTo>
                  <a:lnTo>
                    <a:pt x="39" y="145"/>
                  </a:lnTo>
                  <a:lnTo>
                    <a:pt x="34" y="154"/>
                  </a:lnTo>
                  <a:lnTo>
                    <a:pt x="28" y="166"/>
                  </a:lnTo>
                  <a:lnTo>
                    <a:pt x="21" y="178"/>
                  </a:lnTo>
                  <a:lnTo>
                    <a:pt x="15" y="189"/>
                  </a:lnTo>
                  <a:lnTo>
                    <a:pt x="10" y="200"/>
                  </a:lnTo>
                  <a:lnTo>
                    <a:pt x="6" y="208"/>
                  </a:lnTo>
                  <a:lnTo>
                    <a:pt x="3" y="213"/>
                  </a:lnTo>
                  <a:lnTo>
                    <a:pt x="2" y="216"/>
                  </a:lnTo>
                  <a:lnTo>
                    <a:pt x="0" y="219"/>
                  </a:lnTo>
                  <a:lnTo>
                    <a:pt x="0" y="224"/>
                  </a:lnTo>
                  <a:lnTo>
                    <a:pt x="0" y="229"/>
                  </a:lnTo>
                  <a:lnTo>
                    <a:pt x="2" y="234"/>
                  </a:lnTo>
                  <a:lnTo>
                    <a:pt x="6" y="237"/>
                  </a:lnTo>
                  <a:lnTo>
                    <a:pt x="13" y="238"/>
                  </a:lnTo>
                  <a:lnTo>
                    <a:pt x="23" y="237"/>
                  </a:lnTo>
                  <a:lnTo>
                    <a:pt x="37" y="235"/>
                  </a:lnTo>
                  <a:lnTo>
                    <a:pt x="53" y="231"/>
                  </a:lnTo>
                  <a:lnTo>
                    <a:pt x="68" y="228"/>
                  </a:lnTo>
                  <a:lnTo>
                    <a:pt x="82" y="225"/>
                  </a:lnTo>
                  <a:lnTo>
                    <a:pt x="94" y="222"/>
                  </a:lnTo>
                  <a:lnTo>
                    <a:pt x="102" y="220"/>
                  </a:lnTo>
                  <a:lnTo>
                    <a:pt x="104" y="219"/>
                  </a:lnTo>
                  <a:lnTo>
                    <a:pt x="239" y="121"/>
                  </a:lnTo>
                  <a:lnTo>
                    <a:pt x="239" y="121"/>
                  </a:lnTo>
                  <a:lnTo>
                    <a:pt x="282" y="89"/>
                  </a:lnTo>
                  <a:lnTo>
                    <a:pt x="291" y="80"/>
                  </a:lnTo>
                  <a:lnTo>
                    <a:pt x="295" y="68"/>
                  </a:lnTo>
                  <a:lnTo>
                    <a:pt x="294" y="56"/>
                  </a:lnTo>
                  <a:lnTo>
                    <a:pt x="289" y="45"/>
                  </a:lnTo>
                  <a:close/>
                  <a:moveTo>
                    <a:pt x="37" y="218"/>
                  </a:moveTo>
                  <a:lnTo>
                    <a:pt x="34" y="211"/>
                  </a:lnTo>
                  <a:lnTo>
                    <a:pt x="29" y="206"/>
                  </a:lnTo>
                  <a:lnTo>
                    <a:pt x="25" y="202"/>
                  </a:lnTo>
                  <a:lnTo>
                    <a:pt x="29" y="195"/>
                  </a:lnTo>
                  <a:lnTo>
                    <a:pt x="33" y="187"/>
                  </a:lnTo>
                  <a:lnTo>
                    <a:pt x="37" y="179"/>
                  </a:lnTo>
                  <a:lnTo>
                    <a:pt x="41" y="172"/>
                  </a:lnTo>
                  <a:lnTo>
                    <a:pt x="43" y="168"/>
                  </a:lnTo>
                  <a:lnTo>
                    <a:pt x="44" y="166"/>
                  </a:lnTo>
                  <a:lnTo>
                    <a:pt x="77" y="210"/>
                  </a:lnTo>
                  <a:lnTo>
                    <a:pt x="74" y="210"/>
                  </a:lnTo>
                  <a:lnTo>
                    <a:pt x="68" y="212"/>
                  </a:lnTo>
                  <a:lnTo>
                    <a:pt x="59" y="214"/>
                  </a:lnTo>
                  <a:lnTo>
                    <a:pt x="48" y="216"/>
                  </a:lnTo>
                  <a:lnTo>
                    <a:pt x="37" y="218"/>
                  </a:lnTo>
                  <a:close/>
                  <a:moveTo>
                    <a:pt x="88" y="140"/>
                  </a:moveTo>
                  <a:lnTo>
                    <a:pt x="86" y="140"/>
                  </a:lnTo>
                  <a:lnTo>
                    <a:pt x="84" y="139"/>
                  </a:lnTo>
                  <a:lnTo>
                    <a:pt x="83" y="137"/>
                  </a:lnTo>
                  <a:lnTo>
                    <a:pt x="82" y="135"/>
                  </a:lnTo>
                  <a:lnTo>
                    <a:pt x="82" y="133"/>
                  </a:lnTo>
                  <a:lnTo>
                    <a:pt x="83" y="131"/>
                  </a:lnTo>
                  <a:lnTo>
                    <a:pt x="84" y="129"/>
                  </a:lnTo>
                  <a:lnTo>
                    <a:pt x="180" y="59"/>
                  </a:lnTo>
                  <a:lnTo>
                    <a:pt x="182" y="57"/>
                  </a:lnTo>
                  <a:lnTo>
                    <a:pt x="184" y="57"/>
                  </a:lnTo>
                  <a:lnTo>
                    <a:pt x="186" y="58"/>
                  </a:lnTo>
                  <a:lnTo>
                    <a:pt x="188" y="60"/>
                  </a:lnTo>
                  <a:lnTo>
                    <a:pt x="189" y="62"/>
                  </a:lnTo>
                  <a:lnTo>
                    <a:pt x="189" y="64"/>
                  </a:lnTo>
                  <a:lnTo>
                    <a:pt x="188" y="66"/>
                  </a:lnTo>
                  <a:lnTo>
                    <a:pt x="187" y="68"/>
                  </a:lnTo>
                  <a:lnTo>
                    <a:pt x="92" y="139"/>
                  </a:lnTo>
                  <a:lnTo>
                    <a:pt x="90" y="140"/>
                  </a:lnTo>
                  <a:lnTo>
                    <a:pt x="88" y="140"/>
                  </a:lnTo>
                  <a:close/>
                  <a:moveTo>
                    <a:pt x="104" y="162"/>
                  </a:moveTo>
                  <a:lnTo>
                    <a:pt x="102" y="161"/>
                  </a:lnTo>
                  <a:lnTo>
                    <a:pt x="101" y="161"/>
                  </a:lnTo>
                  <a:lnTo>
                    <a:pt x="99" y="159"/>
                  </a:lnTo>
                  <a:lnTo>
                    <a:pt x="98" y="157"/>
                  </a:lnTo>
                  <a:lnTo>
                    <a:pt x="98" y="155"/>
                  </a:lnTo>
                  <a:lnTo>
                    <a:pt x="99" y="152"/>
                  </a:lnTo>
                  <a:lnTo>
                    <a:pt x="100" y="151"/>
                  </a:lnTo>
                  <a:lnTo>
                    <a:pt x="196" y="80"/>
                  </a:lnTo>
                  <a:lnTo>
                    <a:pt x="199" y="79"/>
                  </a:lnTo>
                  <a:lnTo>
                    <a:pt x="201" y="79"/>
                  </a:lnTo>
                  <a:lnTo>
                    <a:pt x="203" y="80"/>
                  </a:lnTo>
                  <a:lnTo>
                    <a:pt x="205" y="82"/>
                  </a:lnTo>
                  <a:lnTo>
                    <a:pt x="206" y="84"/>
                  </a:lnTo>
                  <a:lnTo>
                    <a:pt x="206" y="86"/>
                  </a:lnTo>
                  <a:lnTo>
                    <a:pt x="206" y="88"/>
                  </a:lnTo>
                  <a:lnTo>
                    <a:pt x="204" y="90"/>
                  </a:lnTo>
                  <a:lnTo>
                    <a:pt x="108" y="160"/>
                  </a:lnTo>
                  <a:lnTo>
                    <a:pt x="106" y="161"/>
                  </a:lnTo>
                  <a:lnTo>
                    <a:pt x="104" y="162"/>
                  </a:lnTo>
                  <a:close/>
                  <a:moveTo>
                    <a:pt x="220" y="112"/>
                  </a:moveTo>
                  <a:lnTo>
                    <a:pt x="124" y="182"/>
                  </a:lnTo>
                  <a:lnTo>
                    <a:pt x="122" y="183"/>
                  </a:lnTo>
                  <a:lnTo>
                    <a:pt x="120" y="183"/>
                  </a:lnTo>
                  <a:lnTo>
                    <a:pt x="118" y="183"/>
                  </a:lnTo>
                  <a:lnTo>
                    <a:pt x="117" y="182"/>
                  </a:lnTo>
                  <a:lnTo>
                    <a:pt x="115" y="181"/>
                  </a:lnTo>
                  <a:lnTo>
                    <a:pt x="114" y="179"/>
                  </a:lnTo>
                  <a:lnTo>
                    <a:pt x="114" y="176"/>
                  </a:lnTo>
                  <a:lnTo>
                    <a:pt x="115" y="174"/>
                  </a:lnTo>
                  <a:lnTo>
                    <a:pt x="117" y="172"/>
                  </a:lnTo>
                  <a:lnTo>
                    <a:pt x="213" y="102"/>
                  </a:lnTo>
                  <a:lnTo>
                    <a:pt x="215" y="101"/>
                  </a:lnTo>
                  <a:lnTo>
                    <a:pt x="217" y="101"/>
                  </a:lnTo>
                  <a:lnTo>
                    <a:pt x="220" y="102"/>
                  </a:lnTo>
                  <a:lnTo>
                    <a:pt x="221" y="103"/>
                  </a:lnTo>
                  <a:lnTo>
                    <a:pt x="222" y="106"/>
                  </a:lnTo>
                  <a:lnTo>
                    <a:pt x="222" y="108"/>
                  </a:lnTo>
                  <a:lnTo>
                    <a:pt x="222" y="110"/>
                  </a:lnTo>
                  <a:lnTo>
                    <a:pt x="220" y="112"/>
                  </a:lnTo>
                  <a:close/>
                  <a:moveTo>
                    <a:pt x="271" y="74"/>
                  </a:moveTo>
                  <a:lnTo>
                    <a:pt x="253" y="88"/>
                  </a:lnTo>
                  <a:lnTo>
                    <a:pt x="213" y="34"/>
                  </a:lnTo>
                  <a:lnTo>
                    <a:pt x="232" y="20"/>
                  </a:lnTo>
                  <a:lnTo>
                    <a:pt x="235" y="19"/>
                  </a:lnTo>
                  <a:lnTo>
                    <a:pt x="237" y="18"/>
                  </a:lnTo>
                  <a:lnTo>
                    <a:pt x="239" y="18"/>
                  </a:lnTo>
                  <a:lnTo>
                    <a:pt x="243" y="18"/>
                  </a:lnTo>
                  <a:lnTo>
                    <a:pt x="247" y="20"/>
                  </a:lnTo>
                  <a:lnTo>
                    <a:pt x="250" y="23"/>
                  </a:lnTo>
                  <a:lnTo>
                    <a:pt x="274" y="56"/>
                  </a:lnTo>
                  <a:lnTo>
                    <a:pt x="277" y="62"/>
                  </a:lnTo>
                  <a:lnTo>
                    <a:pt x="276" y="69"/>
                  </a:lnTo>
                  <a:lnTo>
                    <a:pt x="271" y="7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4" name="Freeform 1963">
              <a:extLst>
                <a:ext uri="{FF2B5EF4-FFF2-40B4-BE49-F238E27FC236}">
                  <a16:creationId xmlns:a16="http://schemas.microsoft.com/office/drawing/2014/main" id="{E90C0236-FE1C-4837-82E0-E2F372DEE877}"/>
                </a:ext>
              </a:extLst>
            </p:cNvPr>
            <p:cNvSpPr>
              <a:spLocks/>
            </p:cNvSpPr>
            <p:nvPr/>
          </p:nvSpPr>
          <p:spPr bwMode="auto">
            <a:xfrm>
              <a:off x="3632201" y="5503863"/>
              <a:ext cx="180975" cy="39688"/>
            </a:xfrm>
            <a:custGeom>
              <a:avLst/>
              <a:gdLst>
                <a:gd name="T0" fmla="*/ 101 w 114"/>
                <a:gd name="T1" fmla="*/ 25 h 25"/>
                <a:gd name="T2" fmla="*/ 13 w 114"/>
                <a:gd name="T3" fmla="*/ 25 h 25"/>
                <a:gd name="T4" fmla="*/ 9 w 114"/>
                <a:gd name="T5" fmla="*/ 24 h 25"/>
                <a:gd name="T6" fmla="*/ 5 w 114"/>
                <a:gd name="T7" fmla="*/ 22 h 25"/>
                <a:gd name="T8" fmla="*/ 3 w 114"/>
                <a:gd name="T9" fmla="*/ 20 h 25"/>
                <a:gd name="T10" fmla="*/ 1 w 114"/>
                <a:gd name="T11" fmla="*/ 16 h 25"/>
                <a:gd name="T12" fmla="*/ 0 w 114"/>
                <a:gd name="T13" fmla="*/ 12 h 25"/>
                <a:gd name="T14" fmla="*/ 1 w 114"/>
                <a:gd name="T15" fmla="*/ 8 h 25"/>
                <a:gd name="T16" fmla="*/ 3 w 114"/>
                <a:gd name="T17" fmla="*/ 5 h 25"/>
                <a:gd name="T18" fmla="*/ 5 w 114"/>
                <a:gd name="T19" fmla="*/ 2 h 25"/>
                <a:gd name="T20" fmla="*/ 9 w 114"/>
                <a:gd name="T21" fmla="*/ 0 h 25"/>
                <a:gd name="T22" fmla="*/ 13 w 114"/>
                <a:gd name="T23" fmla="*/ 0 h 25"/>
                <a:gd name="T24" fmla="*/ 101 w 114"/>
                <a:gd name="T25" fmla="*/ 0 h 25"/>
                <a:gd name="T26" fmla="*/ 105 w 114"/>
                <a:gd name="T27" fmla="*/ 0 h 25"/>
                <a:gd name="T28" fmla="*/ 109 w 114"/>
                <a:gd name="T29" fmla="*/ 2 h 25"/>
                <a:gd name="T30" fmla="*/ 111 w 114"/>
                <a:gd name="T31" fmla="*/ 5 h 25"/>
                <a:gd name="T32" fmla="*/ 113 w 114"/>
                <a:gd name="T33" fmla="*/ 8 h 25"/>
                <a:gd name="T34" fmla="*/ 114 w 114"/>
                <a:gd name="T35" fmla="*/ 12 h 25"/>
                <a:gd name="T36" fmla="*/ 113 w 114"/>
                <a:gd name="T37" fmla="*/ 16 h 25"/>
                <a:gd name="T38" fmla="*/ 111 w 114"/>
                <a:gd name="T39" fmla="*/ 20 h 25"/>
                <a:gd name="T40" fmla="*/ 109 w 114"/>
                <a:gd name="T41" fmla="*/ 22 h 25"/>
                <a:gd name="T42" fmla="*/ 105 w 114"/>
                <a:gd name="T43" fmla="*/ 24 h 25"/>
                <a:gd name="T44" fmla="*/ 101 w 114"/>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25">
                  <a:moveTo>
                    <a:pt x="101" y="25"/>
                  </a:moveTo>
                  <a:lnTo>
                    <a:pt x="13" y="25"/>
                  </a:lnTo>
                  <a:lnTo>
                    <a:pt x="9" y="24"/>
                  </a:lnTo>
                  <a:lnTo>
                    <a:pt x="5" y="22"/>
                  </a:lnTo>
                  <a:lnTo>
                    <a:pt x="3" y="20"/>
                  </a:lnTo>
                  <a:lnTo>
                    <a:pt x="1" y="16"/>
                  </a:lnTo>
                  <a:lnTo>
                    <a:pt x="0" y="12"/>
                  </a:lnTo>
                  <a:lnTo>
                    <a:pt x="1" y="8"/>
                  </a:lnTo>
                  <a:lnTo>
                    <a:pt x="3" y="5"/>
                  </a:lnTo>
                  <a:lnTo>
                    <a:pt x="5" y="2"/>
                  </a:lnTo>
                  <a:lnTo>
                    <a:pt x="9" y="0"/>
                  </a:lnTo>
                  <a:lnTo>
                    <a:pt x="13" y="0"/>
                  </a:lnTo>
                  <a:lnTo>
                    <a:pt x="101" y="0"/>
                  </a:lnTo>
                  <a:lnTo>
                    <a:pt x="105" y="0"/>
                  </a:lnTo>
                  <a:lnTo>
                    <a:pt x="109" y="2"/>
                  </a:lnTo>
                  <a:lnTo>
                    <a:pt x="111" y="5"/>
                  </a:lnTo>
                  <a:lnTo>
                    <a:pt x="113" y="8"/>
                  </a:lnTo>
                  <a:lnTo>
                    <a:pt x="114" y="12"/>
                  </a:lnTo>
                  <a:lnTo>
                    <a:pt x="113" y="16"/>
                  </a:lnTo>
                  <a:lnTo>
                    <a:pt x="111" y="20"/>
                  </a:lnTo>
                  <a:lnTo>
                    <a:pt x="109" y="22"/>
                  </a:lnTo>
                  <a:lnTo>
                    <a:pt x="105" y="24"/>
                  </a:lnTo>
                  <a:lnTo>
                    <a:pt x="101"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5" name="Freeform 1964">
              <a:extLst>
                <a:ext uri="{FF2B5EF4-FFF2-40B4-BE49-F238E27FC236}">
                  <a16:creationId xmlns:a16="http://schemas.microsoft.com/office/drawing/2014/main" id="{4D8D7C37-4EF8-42A5-B848-5DFCBF046828}"/>
                </a:ext>
              </a:extLst>
            </p:cNvPr>
            <p:cNvSpPr>
              <a:spLocks/>
            </p:cNvSpPr>
            <p:nvPr/>
          </p:nvSpPr>
          <p:spPr bwMode="auto">
            <a:xfrm>
              <a:off x="3632201" y="5576888"/>
              <a:ext cx="303213" cy="39688"/>
            </a:xfrm>
            <a:custGeom>
              <a:avLst/>
              <a:gdLst>
                <a:gd name="T0" fmla="*/ 179 w 191"/>
                <a:gd name="T1" fmla="*/ 25 h 25"/>
                <a:gd name="T2" fmla="*/ 13 w 191"/>
                <a:gd name="T3" fmla="*/ 25 h 25"/>
                <a:gd name="T4" fmla="*/ 9 w 191"/>
                <a:gd name="T5" fmla="*/ 24 h 25"/>
                <a:gd name="T6" fmla="*/ 5 w 191"/>
                <a:gd name="T7" fmla="*/ 22 h 25"/>
                <a:gd name="T8" fmla="*/ 3 w 191"/>
                <a:gd name="T9" fmla="*/ 20 h 25"/>
                <a:gd name="T10" fmla="*/ 1 w 191"/>
                <a:gd name="T11" fmla="*/ 16 h 25"/>
                <a:gd name="T12" fmla="*/ 0 w 191"/>
                <a:gd name="T13" fmla="*/ 12 h 25"/>
                <a:gd name="T14" fmla="*/ 1 w 191"/>
                <a:gd name="T15" fmla="*/ 8 h 25"/>
                <a:gd name="T16" fmla="*/ 3 w 191"/>
                <a:gd name="T17" fmla="*/ 5 h 25"/>
                <a:gd name="T18" fmla="*/ 5 w 191"/>
                <a:gd name="T19" fmla="*/ 2 h 25"/>
                <a:gd name="T20" fmla="*/ 9 w 191"/>
                <a:gd name="T21" fmla="*/ 1 h 25"/>
                <a:gd name="T22" fmla="*/ 13 w 191"/>
                <a:gd name="T23" fmla="*/ 0 h 25"/>
                <a:gd name="T24" fmla="*/ 179 w 191"/>
                <a:gd name="T25" fmla="*/ 0 h 25"/>
                <a:gd name="T26" fmla="*/ 182 w 191"/>
                <a:gd name="T27" fmla="*/ 1 h 25"/>
                <a:gd name="T28" fmla="*/ 186 w 191"/>
                <a:gd name="T29" fmla="*/ 2 h 25"/>
                <a:gd name="T30" fmla="*/ 189 w 191"/>
                <a:gd name="T31" fmla="*/ 5 h 25"/>
                <a:gd name="T32" fmla="*/ 190 w 191"/>
                <a:gd name="T33" fmla="*/ 8 h 25"/>
                <a:gd name="T34" fmla="*/ 191 w 191"/>
                <a:gd name="T35" fmla="*/ 12 h 25"/>
                <a:gd name="T36" fmla="*/ 190 w 191"/>
                <a:gd name="T37" fmla="*/ 16 h 25"/>
                <a:gd name="T38" fmla="*/ 189 w 191"/>
                <a:gd name="T39" fmla="*/ 20 h 25"/>
                <a:gd name="T40" fmla="*/ 186 w 191"/>
                <a:gd name="T41" fmla="*/ 22 h 25"/>
                <a:gd name="T42" fmla="*/ 182 w 191"/>
                <a:gd name="T43" fmla="*/ 24 h 25"/>
                <a:gd name="T44" fmla="*/ 179 w 191"/>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25">
                  <a:moveTo>
                    <a:pt x="179" y="25"/>
                  </a:moveTo>
                  <a:lnTo>
                    <a:pt x="13" y="25"/>
                  </a:lnTo>
                  <a:lnTo>
                    <a:pt x="9" y="24"/>
                  </a:lnTo>
                  <a:lnTo>
                    <a:pt x="5" y="22"/>
                  </a:lnTo>
                  <a:lnTo>
                    <a:pt x="3" y="20"/>
                  </a:lnTo>
                  <a:lnTo>
                    <a:pt x="1" y="16"/>
                  </a:lnTo>
                  <a:lnTo>
                    <a:pt x="0" y="12"/>
                  </a:lnTo>
                  <a:lnTo>
                    <a:pt x="1" y="8"/>
                  </a:lnTo>
                  <a:lnTo>
                    <a:pt x="3" y="5"/>
                  </a:lnTo>
                  <a:lnTo>
                    <a:pt x="5" y="2"/>
                  </a:lnTo>
                  <a:lnTo>
                    <a:pt x="9" y="1"/>
                  </a:lnTo>
                  <a:lnTo>
                    <a:pt x="13" y="0"/>
                  </a:lnTo>
                  <a:lnTo>
                    <a:pt x="179" y="0"/>
                  </a:lnTo>
                  <a:lnTo>
                    <a:pt x="182" y="1"/>
                  </a:lnTo>
                  <a:lnTo>
                    <a:pt x="186" y="2"/>
                  </a:lnTo>
                  <a:lnTo>
                    <a:pt x="189" y="5"/>
                  </a:lnTo>
                  <a:lnTo>
                    <a:pt x="190" y="8"/>
                  </a:lnTo>
                  <a:lnTo>
                    <a:pt x="191" y="12"/>
                  </a:lnTo>
                  <a:lnTo>
                    <a:pt x="190" y="16"/>
                  </a:lnTo>
                  <a:lnTo>
                    <a:pt x="189" y="20"/>
                  </a:lnTo>
                  <a:lnTo>
                    <a:pt x="186" y="22"/>
                  </a:lnTo>
                  <a:lnTo>
                    <a:pt x="182" y="24"/>
                  </a:lnTo>
                  <a:lnTo>
                    <a:pt x="179"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6" name="Freeform 1965">
              <a:extLst>
                <a:ext uri="{FF2B5EF4-FFF2-40B4-BE49-F238E27FC236}">
                  <a16:creationId xmlns:a16="http://schemas.microsoft.com/office/drawing/2014/main" id="{3419DA4A-4B31-48E9-BC52-9E0E66D5131C}"/>
                </a:ext>
              </a:extLst>
            </p:cNvPr>
            <p:cNvSpPr>
              <a:spLocks/>
            </p:cNvSpPr>
            <p:nvPr/>
          </p:nvSpPr>
          <p:spPr bwMode="auto">
            <a:xfrm>
              <a:off x="3632201" y="5729288"/>
              <a:ext cx="180975" cy="39688"/>
            </a:xfrm>
            <a:custGeom>
              <a:avLst/>
              <a:gdLst>
                <a:gd name="T0" fmla="*/ 101 w 114"/>
                <a:gd name="T1" fmla="*/ 25 h 25"/>
                <a:gd name="T2" fmla="*/ 13 w 114"/>
                <a:gd name="T3" fmla="*/ 25 h 25"/>
                <a:gd name="T4" fmla="*/ 9 w 114"/>
                <a:gd name="T5" fmla="*/ 24 h 25"/>
                <a:gd name="T6" fmla="*/ 5 w 114"/>
                <a:gd name="T7" fmla="*/ 22 h 25"/>
                <a:gd name="T8" fmla="*/ 3 w 114"/>
                <a:gd name="T9" fmla="*/ 19 h 25"/>
                <a:gd name="T10" fmla="*/ 1 w 114"/>
                <a:gd name="T11" fmla="*/ 16 h 25"/>
                <a:gd name="T12" fmla="*/ 0 w 114"/>
                <a:gd name="T13" fmla="*/ 12 h 25"/>
                <a:gd name="T14" fmla="*/ 1 w 114"/>
                <a:gd name="T15" fmla="*/ 8 h 25"/>
                <a:gd name="T16" fmla="*/ 3 w 114"/>
                <a:gd name="T17" fmla="*/ 5 h 25"/>
                <a:gd name="T18" fmla="*/ 5 w 114"/>
                <a:gd name="T19" fmla="*/ 2 h 25"/>
                <a:gd name="T20" fmla="*/ 9 w 114"/>
                <a:gd name="T21" fmla="*/ 0 h 25"/>
                <a:gd name="T22" fmla="*/ 13 w 114"/>
                <a:gd name="T23" fmla="*/ 0 h 25"/>
                <a:gd name="T24" fmla="*/ 101 w 114"/>
                <a:gd name="T25" fmla="*/ 0 h 25"/>
                <a:gd name="T26" fmla="*/ 105 w 114"/>
                <a:gd name="T27" fmla="*/ 0 h 25"/>
                <a:gd name="T28" fmla="*/ 109 w 114"/>
                <a:gd name="T29" fmla="*/ 2 h 25"/>
                <a:gd name="T30" fmla="*/ 111 w 114"/>
                <a:gd name="T31" fmla="*/ 5 h 25"/>
                <a:gd name="T32" fmla="*/ 113 w 114"/>
                <a:gd name="T33" fmla="*/ 8 h 25"/>
                <a:gd name="T34" fmla="*/ 114 w 114"/>
                <a:gd name="T35" fmla="*/ 12 h 25"/>
                <a:gd name="T36" fmla="*/ 113 w 114"/>
                <a:gd name="T37" fmla="*/ 16 h 25"/>
                <a:gd name="T38" fmla="*/ 111 w 114"/>
                <a:gd name="T39" fmla="*/ 19 h 25"/>
                <a:gd name="T40" fmla="*/ 109 w 114"/>
                <a:gd name="T41" fmla="*/ 22 h 25"/>
                <a:gd name="T42" fmla="*/ 105 w 114"/>
                <a:gd name="T43" fmla="*/ 24 h 25"/>
                <a:gd name="T44" fmla="*/ 101 w 114"/>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25">
                  <a:moveTo>
                    <a:pt x="101" y="25"/>
                  </a:moveTo>
                  <a:lnTo>
                    <a:pt x="13" y="25"/>
                  </a:lnTo>
                  <a:lnTo>
                    <a:pt x="9" y="24"/>
                  </a:lnTo>
                  <a:lnTo>
                    <a:pt x="5" y="22"/>
                  </a:lnTo>
                  <a:lnTo>
                    <a:pt x="3" y="19"/>
                  </a:lnTo>
                  <a:lnTo>
                    <a:pt x="1" y="16"/>
                  </a:lnTo>
                  <a:lnTo>
                    <a:pt x="0" y="12"/>
                  </a:lnTo>
                  <a:lnTo>
                    <a:pt x="1" y="8"/>
                  </a:lnTo>
                  <a:lnTo>
                    <a:pt x="3" y="5"/>
                  </a:lnTo>
                  <a:lnTo>
                    <a:pt x="5" y="2"/>
                  </a:lnTo>
                  <a:lnTo>
                    <a:pt x="9" y="0"/>
                  </a:lnTo>
                  <a:lnTo>
                    <a:pt x="13" y="0"/>
                  </a:lnTo>
                  <a:lnTo>
                    <a:pt x="101" y="0"/>
                  </a:lnTo>
                  <a:lnTo>
                    <a:pt x="105" y="0"/>
                  </a:lnTo>
                  <a:lnTo>
                    <a:pt x="109" y="2"/>
                  </a:lnTo>
                  <a:lnTo>
                    <a:pt x="111" y="5"/>
                  </a:lnTo>
                  <a:lnTo>
                    <a:pt x="113" y="8"/>
                  </a:lnTo>
                  <a:lnTo>
                    <a:pt x="114" y="12"/>
                  </a:lnTo>
                  <a:lnTo>
                    <a:pt x="113" y="16"/>
                  </a:lnTo>
                  <a:lnTo>
                    <a:pt x="111" y="19"/>
                  </a:lnTo>
                  <a:lnTo>
                    <a:pt x="109" y="22"/>
                  </a:lnTo>
                  <a:lnTo>
                    <a:pt x="105" y="24"/>
                  </a:lnTo>
                  <a:lnTo>
                    <a:pt x="101"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7" name="Freeform 1966">
              <a:extLst>
                <a:ext uri="{FF2B5EF4-FFF2-40B4-BE49-F238E27FC236}">
                  <a16:creationId xmlns:a16="http://schemas.microsoft.com/office/drawing/2014/main" id="{9ABBF52F-61BC-4EE1-9FFA-2E78E05C7A3E}"/>
                </a:ext>
              </a:extLst>
            </p:cNvPr>
            <p:cNvSpPr>
              <a:spLocks/>
            </p:cNvSpPr>
            <p:nvPr/>
          </p:nvSpPr>
          <p:spPr bwMode="auto">
            <a:xfrm>
              <a:off x="3632201" y="5802313"/>
              <a:ext cx="298450" cy="39688"/>
            </a:xfrm>
            <a:custGeom>
              <a:avLst/>
              <a:gdLst>
                <a:gd name="T0" fmla="*/ 175 w 188"/>
                <a:gd name="T1" fmla="*/ 25 h 25"/>
                <a:gd name="T2" fmla="*/ 13 w 188"/>
                <a:gd name="T3" fmla="*/ 25 h 25"/>
                <a:gd name="T4" fmla="*/ 9 w 188"/>
                <a:gd name="T5" fmla="*/ 24 h 25"/>
                <a:gd name="T6" fmla="*/ 5 w 188"/>
                <a:gd name="T7" fmla="*/ 22 h 25"/>
                <a:gd name="T8" fmla="*/ 3 w 188"/>
                <a:gd name="T9" fmla="*/ 20 h 25"/>
                <a:gd name="T10" fmla="*/ 1 w 188"/>
                <a:gd name="T11" fmla="*/ 16 h 25"/>
                <a:gd name="T12" fmla="*/ 0 w 188"/>
                <a:gd name="T13" fmla="*/ 12 h 25"/>
                <a:gd name="T14" fmla="*/ 1 w 188"/>
                <a:gd name="T15" fmla="*/ 8 h 25"/>
                <a:gd name="T16" fmla="*/ 3 w 188"/>
                <a:gd name="T17" fmla="*/ 5 h 25"/>
                <a:gd name="T18" fmla="*/ 5 w 188"/>
                <a:gd name="T19" fmla="*/ 2 h 25"/>
                <a:gd name="T20" fmla="*/ 9 w 188"/>
                <a:gd name="T21" fmla="*/ 0 h 25"/>
                <a:gd name="T22" fmla="*/ 13 w 188"/>
                <a:gd name="T23" fmla="*/ 0 h 25"/>
                <a:gd name="T24" fmla="*/ 175 w 188"/>
                <a:gd name="T25" fmla="*/ 0 h 25"/>
                <a:gd name="T26" fmla="*/ 179 w 188"/>
                <a:gd name="T27" fmla="*/ 0 h 25"/>
                <a:gd name="T28" fmla="*/ 183 w 188"/>
                <a:gd name="T29" fmla="*/ 2 h 25"/>
                <a:gd name="T30" fmla="*/ 185 w 188"/>
                <a:gd name="T31" fmla="*/ 5 h 25"/>
                <a:gd name="T32" fmla="*/ 187 w 188"/>
                <a:gd name="T33" fmla="*/ 8 h 25"/>
                <a:gd name="T34" fmla="*/ 188 w 188"/>
                <a:gd name="T35" fmla="*/ 12 h 25"/>
                <a:gd name="T36" fmla="*/ 187 w 188"/>
                <a:gd name="T37" fmla="*/ 16 h 25"/>
                <a:gd name="T38" fmla="*/ 185 w 188"/>
                <a:gd name="T39" fmla="*/ 20 h 25"/>
                <a:gd name="T40" fmla="*/ 183 w 188"/>
                <a:gd name="T41" fmla="*/ 22 h 25"/>
                <a:gd name="T42" fmla="*/ 179 w 188"/>
                <a:gd name="T43" fmla="*/ 24 h 25"/>
                <a:gd name="T44" fmla="*/ 175 w 188"/>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8" h="25">
                  <a:moveTo>
                    <a:pt x="175" y="25"/>
                  </a:moveTo>
                  <a:lnTo>
                    <a:pt x="13" y="25"/>
                  </a:lnTo>
                  <a:lnTo>
                    <a:pt x="9" y="24"/>
                  </a:lnTo>
                  <a:lnTo>
                    <a:pt x="5" y="22"/>
                  </a:lnTo>
                  <a:lnTo>
                    <a:pt x="3" y="20"/>
                  </a:lnTo>
                  <a:lnTo>
                    <a:pt x="1" y="16"/>
                  </a:lnTo>
                  <a:lnTo>
                    <a:pt x="0" y="12"/>
                  </a:lnTo>
                  <a:lnTo>
                    <a:pt x="1" y="8"/>
                  </a:lnTo>
                  <a:lnTo>
                    <a:pt x="3" y="5"/>
                  </a:lnTo>
                  <a:lnTo>
                    <a:pt x="5" y="2"/>
                  </a:lnTo>
                  <a:lnTo>
                    <a:pt x="9" y="0"/>
                  </a:lnTo>
                  <a:lnTo>
                    <a:pt x="13" y="0"/>
                  </a:lnTo>
                  <a:lnTo>
                    <a:pt x="175" y="0"/>
                  </a:lnTo>
                  <a:lnTo>
                    <a:pt x="179" y="0"/>
                  </a:lnTo>
                  <a:lnTo>
                    <a:pt x="183" y="2"/>
                  </a:lnTo>
                  <a:lnTo>
                    <a:pt x="185" y="5"/>
                  </a:lnTo>
                  <a:lnTo>
                    <a:pt x="187" y="8"/>
                  </a:lnTo>
                  <a:lnTo>
                    <a:pt x="188" y="12"/>
                  </a:lnTo>
                  <a:lnTo>
                    <a:pt x="187" y="16"/>
                  </a:lnTo>
                  <a:lnTo>
                    <a:pt x="185" y="20"/>
                  </a:lnTo>
                  <a:lnTo>
                    <a:pt x="183" y="22"/>
                  </a:lnTo>
                  <a:lnTo>
                    <a:pt x="179" y="24"/>
                  </a:lnTo>
                  <a:lnTo>
                    <a:pt x="17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grpSp>
      <p:pic>
        <p:nvPicPr>
          <p:cNvPr id="38" name="Picture 37">
            <a:extLst>
              <a:ext uri="{FF2B5EF4-FFF2-40B4-BE49-F238E27FC236}">
                <a16:creationId xmlns:a16="http://schemas.microsoft.com/office/drawing/2014/main" id="{C8A5773A-F091-45EC-B52F-4C064A38775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1521" y="1073595"/>
            <a:ext cx="3524245" cy="681823"/>
          </a:xfrm>
          <a:prstGeom prst="rect">
            <a:avLst/>
          </a:prstGeom>
        </p:spPr>
      </p:pic>
      <p:sp>
        <p:nvSpPr>
          <p:cNvPr id="39" name="TextBox 38">
            <a:extLst>
              <a:ext uri="{FF2B5EF4-FFF2-40B4-BE49-F238E27FC236}">
                <a16:creationId xmlns:a16="http://schemas.microsoft.com/office/drawing/2014/main" id="{F8252CBF-8796-4E79-A5CD-E654FFC74729}"/>
              </a:ext>
            </a:extLst>
          </p:cNvPr>
          <p:cNvSpPr txBox="1"/>
          <p:nvPr/>
        </p:nvSpPr>
        <p:spPr>
          <a:xfrm>
            <a:off x="1685544" y="1106941"/>
            <a:ext cx="1605995" cy="3600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Description</a:t>
            </a:r>
            <a:endParaRPr lang="en-US" sz="1800">
              <a:solidFill>
                <a:srgbClr val="717074"/>
              </a:solidFill>
            </a:endParaRPr>
          </a:p>
        </p:txBody>
      </p:sp>
      <p:pic>
        <p:nvPicPr>
          <p:cNvPr id="47" name="Picture 46">
            <a:extLst>
              <a:ext uri="{FF2B5EF4-FFF2-40B4-BE49-F238E27FC236}">
                <a16:creationId xmlns:a16="http://schemas.microsoft.com/office/drawing/2014/main" id="{ED52F3BC-37C9-4E4B-8F67-44C2A735708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6675" y="2372986"/>
            <a:ext cx="3459091" cy="502371"/>
          </a:xfrm>
          <a:prstGeom prst="rect">
            <a:avLst/>
          </a:prstGeom>
        </p:spPr>
      </p:pic>
      <p:sp>
        <p:nvSpPr>
          <p:cNvPr id="49" name="TextBox 48">
            <a:extLst>
              <a:ext uri="{FF2B5EF4-FFF2-40B4-BE49-F238E27FC236}">
                <a16:creationId xmlns:a16="http://schemas.microsoft.com/office/drawing/2014/main" id="{11EED3F2-4C11-48B6-8F1F-03EBA6B44D2A}"/>
              </a:ext>
            </a:extLst>
          </p:cNvPr>
          <p:cNvSpPr txBox="1"/>
          <p:nvPr/>
        </p:nvSpPr>
        <p:spPr>
          <a:xfrm>
            <a:off x="1068868" y="2457296"/>
            <a:ext cx="1605995" cy="304800"/>
          </a:xfrm>
          <a:prstGeom prst="rect">
            <a:avLst/>
          </a:prstGeom>
          <a:noFill/>
        </p:spPr>
        <p:txBody>
          <a:bodyPr wrap="none" lIns="0" tIns="0" rIns="0" bIns="0" rtlCol="0" anchor="ctr">
            <a:noAutofit/>
          </a:bodyPr>
          <a:lstStyle>
            <a:defPPr>
              <a:defRPr lang="en-US"/>
            </a:defPPr>
            <a:lvl1pPr lvl="0" indent="92075" eaLnBrk="0" fontAlgn="base" hangingPunct="0">
              <a:spcBef>
                <a:spcPts val="400"/>
              </a:spcBef>
              <a:spcAft>
                <a:spcPts val="900"/>
              </a:spcAft>
              <a:defRPr sz="1200" b="1">
                <a:solidFill>
                  <a:prstClr val="white"/>
                </a:solidFill>
                <a:ea typeface="Verdana" panose="020B0604030504040204" pitchFamily="34" charset="0"/>
                <a:cs typeface="Verdana" panose="020B0604030504040204" pitchFamily="34" charset="0"/>
              </a:defRPr>
            </a:lvl1pPr>
          </a:lstStyle>
          <a:p>
            <a:pPr defTabSz="914400"/>
            <a:r>
              <a:rPr lang="en-AU" altLang="en-US"/>
              <a:t>Audience</a:t>
            </a:r>
            <a:endParaRPr lang="en-US"/>
          </a:p>
        </p:txBody>
      </p:sp>
      <p:sp>
        <p:nvSpPr>
          <p:cNvPr id="75" name="Rectangle 74">
            <a:extLst>
              <a:ext uri="{FF2B5EF4-FFF2-40B4-BE49-F238E27FC236}">
                <a16:creationId xmlns:a16="http://schemas.microsoft.com/office/drawing/2014/main" id="{7549D3A6-61C2-4EC2-A2EE-A17119E59DB6}"/>
              </a:ext>
            </a:extLst>
          </p:cNvPr>
          <p:cNvSpPr/>
          <p:nvPr/>
        </p:nvSpPr>
        <p:spPr>
          <a:xfrm>
            <a:off x="334347" y="4665386"/>
            <a:ext cx="3500247" cy="1107996"/>
          </a:xfrm>
          <a:prstGeom prst="rect">
            <a:avLst/>
          </a:prstGeom>
        </p:spPr>
        <p:txBody>
          <a:bodyPr wrap="square" anchor="t">
            <a:spAutoFit/>
          </a:bodyPr>
          <a:lstStyle/>
          <a:p>
            <a:pPr defTabSz="914400"/>
            <a:r>
              <a:rPr lang="en-US" sz="1100"/>
              <a:t>Service Level Agreement (SLA) is part of the Enterprise Support contracts. Its main objectives are</a:t>
            </a:r>
          </a:p>
          <a:p>
            <a:pPr marL="171450" indent="-171450" defTabSz="914400">
              <a:buFont typeface="Arial" panose="020B0604020202020204" pitchFamily="34" charset="0"/>
              <a:buChar char="•"/>
            </a:pPr>
            <a:r>
              <a:rPr lang="en-US" sz="1100"/>
              <a:t>Accelerate resolution processes</a:t>
            </a:r>
          </a:p>
          <a:p>
            <a:pPr marL="171450" indent="-171450" defTabSz="914400">
              <a:buFont typeface="Arial" panose="020B0604020202020204" pitchFamily="34" charset="0"/>
              <a:buChar char="•"/>
            </a:pPr>
            <a:r>
              <a:rPr lang="en-US" sz="1100"/>
              <a:t>Minimize business disruption and unforeseen downtime</a:t>
            </a:r>
          </a:p>
          <a:p>
            <a:pPr marL="171450" indent="-171450" defTabSz="914400">
              <a:buFont typeface="Arial" panose="020B0604020202020204" pitchFamily="34" charset="0"/>
              <a:buChar char="•"/>
            </a:pPr>
            <a:r>
              <a:rPr lang="en-US" sz="1100"/>
              <a:t>Help reduce financial impact of support issues.</a:t>
            </a:r>
            <a:endParaRPr lang="en-US" sz="1100">
              <a:ea typeface="ＭＳ Ｐゴシック" pitchFamily="34" charset="-128"/>
              <a:cs typeface="Arial"/>
            </a:endParaRPr>
          </a:p>
        </p:txBody>
      </p:sp>
      <p:grpSp>
        <p:nvGrpSpPr>
          <p:cNvPr id="83" name="Group 82">
            <a:extLst>
              <a:ext uri="{FF2B5EF4-FFF2-40B4-BE49-F238E27FC236}">
                <a16:creationId xmlns:a16="http://schemas.microsoft.com/office/drawing/2014/main" id="{055F843A-E40F-42FD-AAE4-9FF10C8BA25E}"/>
              </a:ext>
            </a:extLst>
          </p:cNvPr>
          <p:cNvGrpSpPr/>
          <p:nvPr/>
        </p:nvGrpSpPr>
        <p:grpSpPr>
          <a:xfrm>
            <a:off x="4266232" y="1040912"/>
            <a:ext cx="3530229" cy="555279"/>
            <a:chOff x="3150020" y="633645"/>
            <a:chExt cx="3032760" cy="555279"/>
          </a:xfrm>
        </p:grpSpPr>
        <p:sp>
          <p:nvSpPr>
            <p:cNvPr id="84" name="Rectangle 83">
              <a:extLst>
                <a:ext uri="{FF2B5EF4-FFF2-40B4-BE49-F238E27FC236}">
                  <a16:creationId xmlns:a16="http://schemas.microsoft.com/office/drawing/2014/main" id="{A6620758-1DE2-4EE5-BB9F-C0F6C1790E6E}"/>
                </a:ext>
              </a:extLst>
            </p:cNvPr>
            <p:cNvSpPr/>
            <p:nvPr/>
          </p:nvSpPr>
          <p:spPr bwMode="gray">
            <a:xfrm>
              <a:off x="3150020" y="633645"/>
              <a:ext cx="3032760" cy="45719"/>
            </a:xfrm>
            <a:prstGeom prst="rect">
              <a:avLst/>
            </a:prstGeom>
            <a:solidFill>
              <a:srgbClr val="FBB24B"/>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85" name="Rectangle 84">
              <a:extLst>
                <a:ext uri="{FF2B5EF4-FFF2-40B4-BE49-F238E27FC236}">
                  <a16:creationId xmlns:a16="http://schemas.microsoft.com/office/drawing/2014/main" id="{4B14670A-17F5-43F2-9C32-2629582A43F0}"/>
                </a:ext>
              </a:extLst>
            </p:cNvPr>
            <p:cNvSpPr/>
            <p:nvPr/>
          </p:nvSpPr>
          <p:spPr bwMode="gray">
            <a:xfrm flipV="1">
              <a:off x="3150020" y="679364"/>
              <a:ext cx="3032760" cy="457200"/>
            </a:xfrm>
            <a:prstGeom prst="rect">
              <a:avLst/>
            </a:prstGeom>
            <a:solidFill>
              <a:srgbClr val="0095D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86" name="TextBox 85">
              <a:extLst>
                <a:ext uri="{FF2B5EF4-FFF2-40B4-BE49-F238E27FC236}">
                  <a16:creationId xmlns:a16="http://schemas.microsoft.com/office/drawing/2014/main" id="{5A878B44-0C9A-43D2-84F3-8B894F6DD98E}"/>
                </a:ext>
              </a:extLst>
            </p:cNvPr>
            <p:cNvSpPr txBox="1"/>
            <p:nvPr/>
          </p:nvSpPr>
          <p:spPr>
            <a:xfrm>
              <a:off x="4014614" y="715635"/>
              <a:ext cx="1371600" cy="360000"/>
            </a:xfrm>
            <a:prstGeom prst="rect">
              <a:avLst/>
            </a:prstGeom>
            <a:noFill/>
          </p:spPr>
          <p:txBody>
            <a:bodyPr wrap="none" lIns="0" tIns="0" rIns="0" bIns="0" rtlCol="0" anchor="ctr">
              <a:noAutofit/>
            </a:bodyPr>
            <a:lstStyle/>
            <a:p>
              <a:pPr lvl="0" indent="92075"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Explanation &amp; Related Terms</a:t>
              </a:r>
            </a:p>
          </p:txBody>
        </p:sp>
        <p:sp>
          <p:nvSpPr>
            <p:cNvPr id="87" name="Isosceles Triangle 86">
              <a:extLst>
                <a:ext uri="{FF2B5EF4-FFF2-40B4-BE49-F238E27FC236}">
                  <a16:creationId xmlns:a16="http://schemas.microsoft.com/office/drawing/2014/main" id="{A07BD9D9-F4B5-4771-8519-1F26B6EE2CEF}"/>
                </a:ext>
              </a:extLst>
            </p:cNvPr>
            <p:cNvSpPr/>
            <p:nvPr/>
          </p:nvSpPr>
          <p:spPr>
            <a:xfrm flipV="1">
              <a:off x="5785619" y="984544"/>
              <a:ext cx="396938" cy="204380"/>
            </a:xfrm>
            <a:prstGeom prst="triangle">
              <a:avLst/>
            </a:prstGeom>
            <a:solidFill>
              <a:srgbClr val="0095D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99" name="Illustration" descr="Example of an illustration" title="Illustration for title slide">
            <a:extLst>
              <a:ext uri="{FF2B5EF4-FFF2-40B4-BE49-F238E27FC236}">
                <a16:creationId xmlns:a16="http://schemas.microsoft.com/office/drawing/2014/main" id="{8F1690E4-F0A3-432F-A8C5-ADFF9F911587}"/>
              </a:ext>
            </a:extLst>
          </p:cNvPr>
          <p:cNvPicPr>
            <a:picLocks noChangeAspect="1"/>
          </p:cNvPicPr>
          <p:nvPr/>
        </p:nvPicPr>
        <p:blipFill rotWithShape="1">
          <a:blip r:embed="rId10"/>
          <a:srcRect l="70221" t="59532" r="26482" b="26655"/>
          <a:stretch/>
        </p:blipFill>
        <p:spPr bwMode="gray">
          <a:xfrm>
            <a:off x="1238797" y="1025071"/>
            <a:ext cx="413965" cy="449277"/>
          </a:xfrm>
          <a:prstGeom prst="rect">
            <a:avLst/>
          </a:prstGeom>
          <a:noFill/>
        </p:spPr>
      </p:pic>
      <p:pic>
        <p:nvPicPr>
          <p:cNvPr id="100" name="Picture 99">
            <a:extLst>
              <a:ext uri="{FF2B5EF4-FFF2-40B4-BE49-F238E27FC236}">
                <a16:creationId xmlns:a16="http://schemas.microsoft.com/office/drawing/2014/main" id="{60765153-FD05-41F0-AEC1-D721534E38E4}"/>
              </a:ext>
            </a:extLst>
          </p:cNvPr>
          <p:cNvPicPr>
            <a:picLocks noChangeAspect="1"/>
          </p:cNvPicPr>
          <p:nvPr/>
        </p:nvPicPr>
        <p:blipFill>
          <a:blip r:embed="rId11"/>
          <a:stretch>
            <a:fillRect/>
          </a:stretch>
        </p:blipFill>
        <p:spPr>
          <a:xfrm>
            <a:off x="4245847" y="756444"/>
            <a:ext cx="1104390" cy="1104390"/>
          </a:xfrm>
          <a:prstGeom prst="rect">
            <a:avLst/>
          </a:prstGeom>
        </p:spPr>
      </p:pic>
      <p:grpSp>
        <p:nvGrpSpPr>
          <p:cNvPr id="107" name="Group 5">
            <a:extLst>
              <a:ext uri="{FF2B5EF4-FFF2-40B4-BE49-F238E27FC236}">
                <a16:creationId xmlns:a16="http://schemas.microsoft.com/office/drawing/2014/main" id="{F7B1E092-42EE-4B98-BE93-5060B09B0E56}"/>
              </a:ext>
            </a:extLst>
          </p:cNvPr>
          <p:cNvGrpSpPr>
            <a:grpSpLocks noChangeAspect="1"/>
          </p:cNvGrpSpPr>
          <p:nvPr/>
        </p:nvGrpSpPr>
        <p:grpSpPr bwMode="auto">
          <a:xfrm>
            <a:off x="453198" y="2444823"/>
            <a:ext cx="423854" cy="356441"/>
            <a:chOff x="471" y="958"/>
            <a:chExt cx="269" cy="265"/>
          </a:xfrm>
          <a:solidFill>
            <a:schemeClr val="accent1"/>
          </a:solidFill>
        </p:grpSpPr>
        <p:sp>
          <p:nvSpPr>
            <p:cNvPr id="108" name="Freeform 6">
              <a:extLst>
                <a:ext uri="{FF2B5EF4-FFF2-40B4-BE49-F238E27FC236}">
                  <a16:creationId xmlns:a16="http://schemas.microsoft.com/office/drawing/2014/main" id="{54B29DB9-39DA-4152-A637-8F597DD26ED0}"/>
                </a:ext>
              </a:extLst>
            </p:cNvPr>
            <p:cNvSpPr>
              <a:spLocks noEditPoints="1"/>
            </p:cNvSpPr>
            <p:nvPr/>
          </p:nvSpPr>
          <p:spPr bwMode="auto">
            <a:xfrm>
              <a:off x="471" y="1096"/>
              <a:ext cx="269" cy="127"/>
            </a:xfrm>
            <a:custGeom>
              <a:avLst/>
              <a:gdLst>
                <a:gd name="T0" fmla="*/ 793 w 1586"/>
                <a:gd name="T1" fmla="*/ 55 h 746"/>
                <a:gd name="T2" fmla="*/ 975 w 1586"/>
                <a:gd name="T3" fmla="*/ 245 h 746"/>
                <a:gd name="T4" fmla="*/ 1095 w 1586"/>
                <a:gd name="T5" fmla="*/ 0 h 746"/>
                <a:gd name="T6" fmla="*/ 1333 w 1586"/>
                <a:gd name="T7" fmla="*/ 81 h 746"/>
                <a:gd name="T8" fmla="*/ 1458 w 1586"/>
                <a:gd name="T9" fmla="*/ 155 h 746"/>
                <a:gd name="T10" fmla="*/ 1519 w 1586"/>
                <a:gd name="T11" fmla="*/ 234 h 746"/>
                <a:gd name="T12" fmla="*/ 1568 w 1586"/>
                <a:gd name="T13" fmla="*/ 508 h 746"/>
                <a:gd name="T14" fmla="*/ 1586 w 1586"/>
                <a:gd name="T15" fmla="*/ 746 h 746"/>
                <a:gd name="T16" fmla="*/ 1302 w 1586"/>
                <a:gd name="T17" fmla="*/ 746 h 746"/>
                <a:gd name="T18" fmla="*/ 1299 w 1586"/>
                <a:gd name="T19" fmla="*/ 592 h 746"/>
                <a:gd name="T20" fmla="*/ 1201 w 1586"/>
                <a:gd name="T21" fmla="*/ 592 h 746"/>
                <a:gd name="T22" fmla="*/ 1201 w 1586"/>
                <a:gd name="T23" fmla="*/ 746 h 746"/>
                <a:gd name="T24" fmla="*/ 385 w 1586"/>
                <a:gd name="T25" fmla="*/ 746 h 746"/>
                <a:gd name="T26" fmla="*/ 385 w 1586"/>
                <a:gd name="T27" fmla="*/ 592 h 746"/>
                <a:gd name="T28" fmla="*/ 287 w 1586"/>
                <a:gd name="T29" fmla="*/ 592 h 746"/>
                <a:gd name="T30" fmla="*/ 285 w 1586"/>
                <a:gd name="T31" fmla="*/ 746 h 746"/>
                <a:gd name="T32" fmla="*/ 0 w 1586"/>
                <a:gd name="T33" fmla="*/ 746 h 746"/>
                <a:gd name="T34" fmla="*/ 18 w 1586"/>
                <a:gd name="T35" fmla="*/ 508 h 746"/>
                <a:gd name="T36" fmla="*/ 67 w 1586"/>
                <a:gd name="T37" fmla="*/ 234 h 746"/>
                <a:gd name="T38" fmla="*/ 128 w 1586"/>
                <a:gd name="T39" fmla="*/ 155 h 746"/>
                <a:gd name="T40" fmla="*/ 253 w 1586"/>
                <a:gd name="T41" fmla="*/ 81 h 746"/>
                <a:gd name="T42" fmla="*/ 491 w 1586"/>
                <a:gd name="T43" fmla="*/ 0 h 746"/>
                <a:gd name="T44" fmla="*/ 612 w 1586"/>
                <a:gd name="T45" fmla="*/ 245 h 746"/>
                <a:gd name="T46" fmla="*/ 793 w 1586"/>
                <a:gd name="T47" fmla="*/ 55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86" h="746">
                  <a:moveTo>
                    <a:pt x="793" y="55"/>
                  </a:moveTo>
                  <a:cubicBezTo>
                    <a:pt x="854" y="118"/>
                    <a:pt x="914" y="182"/>
                    <a:pt x="975" y="245"/>
                  </a:cubicBezTo>
                  <a:cubicBezTo>
                    <a:pt x="1015" y="163"/>
                    <a:pt x="1055" y="82"/>
                    <a:pt x="1095" y="0"/>
                  </a:cubicBezTo>
                  <a:cubicBezTo>
                    <a:pt x="1183" y="27"/>
                    <a:pt x="1271" y="55"/>
                    <a:pt x="1333" y="81"/>
                  </a:cubicBezTo>
                  <a:cubicBezTo>
                    <a:pt x="1395" y="106"/>
                    <a:pt x="1431" y="131"/>
                    <a:pt x="1458" y="155"/>
                  </a:cubicBezTo>
                  <a:cubicBezTo>
                    <a:pt x="1485" y="179"/>
                    <a:pt x="1503" y="202"/>
                    <a:pt x="1519" y="234"/>
                  </a:cubicBezTo>
                  <a:cubicBezTo>
                    <a:pt x="1536" y="265"/>
                    <a:pt x="1550" y="305"/>
                    <a:pt x="1568" y="508"/>
                  </a:cubicBezTo>
                  <a:cubicBezTo>
                    <a:pt x="1574" y="573"/>
                    <a:pt x="1580" y="654"/>
                    <a:pt x="1586" y="746"/>
                  </a:cubicBezTo>
                  <a:moveTo>
                    <a:pt x="1302" y="746"/>
                  </a:moveTo>
                  <a:cubicBezTo>
                    <a:pt x="1301" y="695"/>
                    <a:pt x="1300" y="643"/>
                    <a:pt x="1299" y="592"/>
                  </a:cubicBezTo>
                  <a:cubicBezTo>
                    <a:pt x="1266" y="559"/>
                    <a:pt x="1233" y="561"/>
                    <a:pt x="1201" y="592"/>
                  </a:cubicBezTo>
                  <a:cubicBezTo>
                    <a:pt x="1201" y="643"/>
                    <a:pt x="1201" y="694"/>
                    <a:pt x="1201" y="746"/>
                  </a:cubicBezTo>
                  <a:moveTo>
                    <a:pt x="385" y="746"/>
                  </a:moveTo>
                  <a:cubicBezTo>
                    <a:pt x="385" y="694"/>
                    <a:pt x="385" y="643"/>
                    <a:pt x="385" y="592"/>
                  </a:cubicBezTo>
                  <a:cubicBezTo>
                    <a:pt x="352" y="561"/>
                    <a:pt x="320" y="557"/>
                    <a:pt x="287" y="592"/>
                  </a:cubicBezTo>
                  <a:cubicBezTo>
                    <a:pt x="286" y="643"/>
                    <a:pt x="286" y="695"/>
                    <a:pt x="285" y="746"/>
                  </a:cubicBezTo>
                  <a:moveTo>
                    <a:pt x="0" y="746"/>
                  </a:moveTo>
                  <a:cubicBezTo>
                    <a:pt x="6" y="654"/>
                    <a:pt x="12" y="573"/>
                    <a:pt x="18" y="508"/>
                  </a:cubicBezTo>
                  <a:cubicBezTo>
                    <a:pt x="36" y="305"/>
                    <a:pt x="50" y="265"/>
                    <a:pt x="67" y="234"/>
                  </a:cubicBezTo>
                  <a:cubicBezTo>
                    <a:pt x="83" y="202"/>
                    <a:pt x="101" y="179"/>
                    <a:pt x="128" y="155"/>
                  </a:cubicBezTo>
                  <a:cubicBezTo>
                    <a:pt x="155" y="131"/>
                    <a:pt x="191" y="106"/>
                    <a:pt x="253" y="81"/>
                  </a:cubicBezTo>
                  <a:cubicBezTo>
                    <a:pt x="315" y="55"/>
                    <a:pt x="403" y="27"/>
                    <a:pt x="491" y="0"/>
                  </a:cubicBezTo>
                  <a:cubicBezTo>
                    <a:pt x="531" y="82"/>
                    <a:pt x="571" y="163"/>
                    <a:pt x="612" y="245"/>
                  </a:cubicBezTo>
                  <a:cubicBezTo>
                    <a:pt x="672" y="182"/>
                    <a:pt x="733" y="118"/>
                    <a:pt x="793" y="55"/>
                  </a:cubicBezTo>
                </a:path>
              </a:pathLst>
            </a:custGeom>
            <a:grpFill/>
            <a:ln w="12700"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sp>
          <p:nvSpPr>
            <p:cNvPr id="109" name="Oval 7">
              <a:extLst>
                <a:ext uri="{FF2B5EF4-FFF2-40B4-BE49-F238E27FC236}">
                  <a16:creationId xmlns:a16="http://schemas.microsoft.com/office/drawing/2014/main" id="{50078655-C2F9-4ACE-A5E3-4C4DCD242528}"/>
                </a:ext>
              </a:extLst>
            </p:cNvPr>
            <p:cNvSpPr>
              <a:spLocks noChangeArrowheads="1"/>
            </p:cNvSpPr>
            <p:nvPr/>
          </p:nvSpPr>
          <p:spPr bwMode="auto">
            <a:xfrm>
              <a:off x="542" y="958"/>
              <a:ext cx="126" cy="126"/>
            </a:xfrm>
            <a:prstGeom prst="ellips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sp>
          <p:nvSpPr>
            <p:cNvPr id="110" name="Freeform 8">
              <a:extLst>
                <a:ext uri="{FF2B5EF4-FFF2-40B4-BE49-F238E27FC236}">
                  <a16:creationId xmlns:a16="http://schemas.microsoft.com/office/drawing/2014/main" id="{0EC97590-4640-42E8-9A2A-13F26EDEEA0C}"/>
                </a:ext>
              </a:extLst>
            </p:cNvPr>
            <p:cNvSpPr>
              <a:spLocks/>
            </p:cNvSpPr>
            <p:nvPr/>
          </p:nvSpPr>
          <p:spPr bwMode="auto">
            <a:xfrm>
              <a:off x="582" y="1131"/>
              <a:ext cx="46" cy="46"/>
            </a:xfrm>
            <a:custGeom>
              <a:avLst/>
              <a:gdLst>
                <a:gd name="T0" fmla="*/ 0 w 273"/>
                <a:gd name="T1" fmla="*/ 137 h 273"/>
                <a:gd name="T2" fmla="*/ 137 w 273"/>
                <a:gd name="T3" fmla="*/ 0 h 273"/>
                <a:gd name="T4" fmla="*/ 273 w 273"/>
                <a:gd name="T5" fmla="*/ 137 h 273"/>
                <a:gd name="T6" fmla="*/ 137 w 273"/>
                <a:gd name="T7" fmla="*/ 273 h 273"/>
                <a:gd name="T8" fmla="*/ 0 w 273"/>
                <a:gd name="T9" fmla="*/ 137 h 273"/>
              </a:gdLst>
              <a:ahLst/>
              <a:cxnLst>
                <a:cxn ang="0">
                  <a:pos x="T0" y="T1"/>
                </a:cxn>
                <a:cxn ang="0">
                  <a:pos x="T2" y="T3"/>
                </a:cxn>
                <a:cxn ang="0">
                  <a:pos x="T4" y="T5"/>
                </a:cxn>
                <a:cxn ang="0">
                  <a:pos x="T6" y="T7"/>
                </a:cxn>
                <a:cxn ang="0">
                  <a:pos x="T8" y="T9"/>
                </a:cxn>
              </a:cxnLst>
              <a:rect l="0" t="0" r="r" b="b"/>
              <a:pathLst>
                <a:path w="273" h="273">
                  <a:moveTo>
                    <a:pt x="0" y="137"/>
                  </a:moveTo>
                  <a:lnTo>
                    <a:pt x="137" y="0"/>
                  </a:lnTo>
                  <a:lnTo>
                    <a:pt x="273" y="137"/>
                  </a:lnTo>
                  <a:lnTo>
                    <a:pt x="137" y="273"/>
                  </a:lnTo>
                  <a:lnTo>
                    <a:pt x="0" y="137"/>
                  </a:lnTo>
                  <a:close/>
                </a:path>
              </a:pathLst>
            </a:custGeom>
            <a:grpFill/>
            <a:ln w="12700"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sp>
          <p:nvSpPr>
            <p:cNvPr id="111" name="Freeform 9">
              <a:extLst>
                <a:ext uri="{FF2B5EF4-FFF2-40B4-BE49-F238E27FC236}">
                  <a16:creationId xmlns:a16="http://schemas.microsoft.com/office/drawing/2014/main" id="{388AC070-6A91-4240-AF33-A4953009903F}"/>
                </a:ext>
              </a:extLst>
            </p:cNvPr>
            <p:cNvSpPr>
              <a:spLocks/>
            </p:cNvSpPr>
            <p:nvPr/>
          </p:nvSpPr>
          <p:spPr bwMode="auto">
            <a:xfrm>
              <a:off x="586" y="1169"/>
              <a:ext cx="38" cy="54"/>
            </a:xfrm>
            <a:custGeom>
              <a:avLst/>
              <a:gdLst>
                <a:gd name="T0" fmla="*/ 224 w 224"/>
                <a:gd name="T1" fmla="*/ 319 h 319"/>
                <a:gd name="T2" fmla="*/ 162 w 224"/>
                <a:gd name="T3" fmla="*/ 0 h 319"/>
                <a:gd name="T4" fmla="*/ 113 w 224"/>
                <a:gd name="T5" fmla="*/ 49 h 319"/>
                <a:gd name="T6" fmla="*/ 65 w 224"/>
                <a:gd name="T7" fmla="*/ 1 h 319"/>
                <a:gd name="T8" fmla="*/ 0 w 224"/>
                <a:gd name="T9" fmla="*/ 319 h 319"/>
              </a:gdLst>
              <a:ahLst/>
              <a:cxnLst>
                <a:cxn ang="0">
                  <a:pos x="T0" y="T1"/>
                </a:cxn>
                <a:cxn ang="0">
                  <a:pos x="T2" y="T3"/>
                </a:cxn>
                <a:cxn ang="0">
                  <a:pos x="T4" y="T5"/>
                </a:cxn>
                <a:cxn ang="0">
                  <a:pos x="T6" y="T7"/>
                </a:cxn>
                <a:cxn ang="0">
                  <a:pos x="T8" y="T9"/>
                </a:cxn>
              </a:cxnLst>
              <a:rect l="0" t="0" r="r" b="b"/>
              <a:pathLst>
                <a:path w="224" h="319">
                  <a:moveTo>
                    <a:pt x="224" y="319"/>
                  </a:moveTo>
                  <a:lnTo>
                    <a:pt x="162" y="0"/>
                  </a:lnTo>
                  <a:lnTo>
                    <a:pt x="113" y="49"/>
                  </a:lnTo>
                  <a:lnTo>
                    <a:pt x="65" y="1"/>
                  </a:lnTo>
                  <a:lnTo>
                    <a:pt x="0" y="319"/>
                  </a:lnTo>
                </a:path>
              </a:pathLst>
            </a:custGeom>
            <a:grpFill/>
            <a:ln w="12700"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grpSp>
      <p:grpSp>
        <p:nvGrpSpPr>
          <p:cNvPr id="57" name="Group 56">
            <a:extLst>
              <a:ext uri="{FF2B5EF4-FFF2-40B4-BE49-F238E27FC236}">
                <a16:creationId xmlns:a16="http://schemas.microsoft.com/office/drawing/2014/main" id="{6B162CE2-E0C8-42D2-8C35-44910DCE1DDB}"/>
              </a:ext>
            </a:extLst>
          </p:cNvPr>
          <p:cNvGrpSpPr/>
          <p:nvPr/>
        </p:nvGrpSpPr>
        <p:grpSpPr>
          <a:xfrm>
            <a:off x="8118199" y="1040912"/>
            <a:ext cx="3530229" cy="555279"/>
            <a:chOff x="3150020" y="633645"/>
            <a:chExt cx="3032760" cy="555279"/>
          </a:xfrm>
        </p:grpSpPr>
        <p:sp>
          <p:nvSpPr>
            <p:cNvPr id="58" name="Rectangle 57">
              <a:extLst>
                <a:ext uri="{FF2B5EF4-FFF2-40B4-BE49-F238E27FC236}">
                  <a16:creationId xmlns:a16="http://schemas.microsoft.com/office/drawing/2014/main" id="{E7D89D47-8C36-498F-81F7-7C3A49F6EF7D}"/>
                </a:ext>
              </a:extLst>
            </p:cNvPr>
            <p:cNvSpPr/>
            <p:nvPr/>
          </p:nvSpPr>
          <p:spPr bwMode="gray">
            <a:xfrm>
              <a:off x="3150020" y="633645"/>
              <a:ext cx="3032760" cy="45719"/>
            </a:xfrm>
            <a:prstGeom prst="rect">
              <a:avLst/>
            </a:prstGeom>
            <a:solidFill>
              <a:srgbClr val="FBB24B"/>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59" name="Rectangle 58">
              <a:extLst>
                <a:ext uri="{FF2B5EF4-FFF2-40B4-BE49-F238E27FC236}">
                  <a16:creationId xmlns:a16="http://schemas.microsoft.com/office/drawing/2014/main" id="{A40A5814-3F02-4D40-9DAA-FB52F91476DC}"/>
                </a:ext>
              </a:extLst>
            </p:cNvPr>
            <p:cNvSpPr/>
            <p:nvPr/>
          </p:nvSpPr>
          <p:spPr bwMode="gray">
            <a:xfrm flipV="1">
              <a:off x="3150020" y="679364"/>
              <a:ext cx="3032760" cy="457200"/>
            </a:xfrm>
            <a:prstGeom prst="rect">
              <a:avLst/>
            </a:prstGeom>
            <a:solidFill>
              <a:srgbClr val="0095D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64" name="TextBox 63">
              <a:extLst>
                <a:ext uri="{FF2B5EF4-FFF2-40B4-BE49-F238E27FC236}">
                  <a16:creationId xmlns:a16="http://schemas.microsoft.com/office/drawing/2014/main" id="{08E8AFFF-B31C-4A29-91D4-020B8B5394F1}"/>
                </a:ext>
              </a:extLst>
            </p:cNvPr>
            <p:cNvSpPr txBox="1"/>
            <p:nvPr/>
          </p:nvSpPr>
          <p:spPr>
            <a:xfrm>
              <a:off x="4014614" y="715635"/>
              <a:ext cx="1371600" cy="360000"/>
            </a:xfrm>
            <a:prstGeom prst="rect">
              <a:avLst/>
            </a:prstGeom>
            <a:noFill/>
          </p:spPr>
          <p:txBody>
            <a:bodyPr wrap="none" lIns="0" tIns="0" rIns="0" bIns="0" rtlCol="0" anchor="ctr">
              <a:noAutofit/>
            </a:bodyPr>
            <a:lstStyle/>
            <a:p>
              <a:pPr lvl="0" indent="92075" eaLnBrk="0" fontAlgn="base" hangingPunct="0"/>
              <a:r>
                <a:rPr lang="en-AU" altLang="en-US" sz="1200" b="1">
                  <a:solidFill>
                    <a:prstClr val="white"/>
                  </a:solidFill>
                  <a:ea typeface="Verdana" panose="020B0604030504040204" pitchFamily="34" charset="0"/>
                  <a:cs typeface="Verdana" panose="020B0604030504040204" pitchFamily="34" charset="0"/>
                </a:rPr>
                <a:t>Explanation &amp; Related Terms </a:t>
              </a:r>
            </a:p>
            <a:p>
              <a:pPr lvl="0" indent="92075" eaLnBrk="0" fontAlgn="base" hangingPunct="0"/>
              <a:r>
                <a:rPr lang="en-AU" altLang="en-US" sz="1200" b="1">
                  <a:solidFill>
                    <a:prstClr val="white"/>
                  </a:solidFill>
                  <a:ea typeface="Verdana" panose="020B0604030504040204" pitchFamily="34" charset="0"/>
                  <a:cs typeface="Verdana" panose="020B0604030504040204" pitchFamily="34" charset="0"/>
                </a:rPr>
                <a:t>(Cont’d)</a:t>
              </a:r>
            </a:p>
          </p:txBody>
        </p:sp>
        <p:sp>
          <p:nvSpPr>
            <p:cNvPr id="65" name="Isosceles Triangle 64">
              <a:extLst>
                <a:ext uri="{FF2B5EF4-FFF2-40B4-BE49-F238E27FC236}">
                  <a16:creationId xmlns:a16="http://schemas.microsoft.com/office/drawing/2014/main" id="{A37FE9F5-100C-45BA-B8B2-715B9E4E3F80}"/>
                </a:ext>
              </a:extLst>
            </p:cNvPr>
            <p:cNvSpPr/>
            <p:nvPr/>
          </p:nvSpPr>
          <p:spPr>
            <a:xfrm flipV="1">
              <a:off x="5785619" y="984544"/>
              <a:ext cx="396938" cy="204380"/>
            </a:xfrm>
            <a:prstGeom prst="triangle">
              <a:avLst/>
            </a:prstGeom>
            <a:solidFill>
              <a:srgbClr val="0095D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66" name="Rectangle 65">
            <a:extLst>
              <a:ext uri="{FF2B5EF4-FFF2-40B4-BE49-F238E27FC236}">
                <a16:creationId xmlns:a16="http://schemas.microsoft.com/office/drawing/2014/main" id="{AA51B90A-52F4-4DD0-985A-AD0C246F511C}"/>
              </a:ext>
            </a:extLst>
          </p:cNvPr>
          <p:cNvSpPr/>
          <p:nvPr/>
        </p:nvSpPr>
        <p:spPr>
          <a:xfrm>
            <a:off x="8117989" y="1711591"/>
            <a:ext cx="3670511" cy="5001369"/>
          </a:xfrm>
          <a:prstGeom prst="rect">
            <a:avLst/>
          </a:prstGeom>
        </p:spPr>
        <p:txBody>
          <a:bodyPr wrap="square" anchor="t">
            <a:spAutoFit/>
          </a:bodyPr>
          <a:lstStyle/>
          <a:p>
            <a:pPr marL="228600" indent="-228600" defTabSz="914400">
              <a:buFont typeface="+mj-lt"/>
              <a:buAutoNum type="arabicPeriod" startAt="5"/>
            </a:pPr>
            <a:r>
              <a:rPr lang="en-US" sz="1100" b="1">
                <a:ea typeface="ＭＳ Ｐゴシック"/>
                <a:cs typeface="Arial"/>
              </a:rPr>
              <a:t>Maximum Processing Time (MPT): </a:t>
            </a:r>
            <a:r>
              <a:rPr lang="en-US" sz="1100">
                <a:ea typeface="ＭＳ Ｐゴシック"/>
                <a:cs typeface="Arial"/>
              </a:rPr>
              <a:t>Maximum Processing time is the maximum time a customer can expect a solution to be provided to the request. It is the time between record arriving at SAP Support</a:t>
            </a:r>
            <a:r>
              <a:rPr lang="en-US" sz="1100">
                <a:solidFill>
                  <a:srgbClr val="FF0000"/>
                </a:solidFill>
                <a:ea typeface="ＭＳ Ｐゴシック"/>
                <a:cs typeface="Arial"/>
              </a:rPr>
              <a:t> </a:t>
            </a:r>
            <a:r>
              <a:rPr lang="en-US" sz="1100">
                <a:ea typeface="ＭＳ Ｐゴシック"/>
                <a:cs typeface="Arial"/>
              </a:rPr>
              <a:t>and solution confirmed by customer, or if the case is automatically closed by the system, based on real time (24x7). MPT is paused when waiting for customer action or solution provided to customer.</a:t>
            </a:r>
            <a:endParaRPr lang="en-US" sz="1100" strike="sngStrike">
              <a:ea typeface="ＭＳ Ｐゴシック"/>
              <a:cs typeface="Arial"/>
            </a:endParaRPr>
          </a:p>
          <a:p>
            <a:pPr marL="228600" indent="-228600" defTabSz="914400">
              <a:buAutoNum type="arabicPeriod" startAt="5"/>
            </a:pPr>
            <a:endParaRPr lang="en-US" sz="1100">
              <a:ea typeface="ＭＳ Ｐゴシック"/>
              <a:cs typeface="Arial"/>
            </a:endParaRPr>
          </a:p>
          <a:p>
            <a:pPr marL="228600" indent="-228600" defTabSz="914400">
              <a:buFont typeface="+mj-lt"/>
              <a:buAutoNum type="arabicPeriod" startAt="6"/>
            </a:pPr>
            <a:r>
              <a:rPr lang="en-US" sz="1100" b="1">
                <a:ea typeface="ＭＳ Ｐゴシック"/>
                <a:cs typeface="Arial"/>
              </a:rPr>
              <a:t>Action Plan Time (APT):</a:t>
            </a:r>
            <a:r>
              <a:rPr lang="en-US" sz="1100">
                <a:ea typeface="ＭＳ Ｐゴシック"/>
                <a:cs typeface="Arial"/>
              </a:rPr>
              <a:t> Action Plan Time is the time that starts when a record arrives at SAP support, contractually requiring the creation of an Action Plan (AP) or when the priority of existing case becomes APT contract relevant. APT is paused when waiting for customer action. It can also be stopped by Support Engineer if: 1) an AP is created and sent to customer, 2) the priority is lowered, 3) solution is provided, or 4) the case is confirmed and closed by customer.</a:t>
            </a:r>
          </a:p>
          <a:p>
            <a:pPr defTabSz="914400"/>
            <a:endParaRPr lang="en-US" sz="1100" b="1">
              <a:ea typeface="ＭＳ Ｐゴシック"/>
              <a:cs typeface="Arial"/>
            </a:endParaRPr>
          </a:p>
          <a:p>
            <a:pPr marL="228600" indent="-228600" defTabSz="914400">
              <a:buFont typeface="+mj-lt"/>
              <a:buChar char="•"/>
            </a:pPr>
            <a:r>
              <a:rPr lang="en-US" sz="1100" b="1">
                <a:ea typeface="ＭＳ Ｐゴシック"/>
                <a:cs typeface="Arial"/>
              </a:rPr>
              <a:t>Ongoing Response Time (ORT): </a:t>
            </a:r>
            <a:r>
              <a:rPr lang="en-US" sz="1100">
                <a:ea typeface="ＭＳ Ｐゴシック"/>
                <a:cs typeface="Arial"/>
              </a:rPr>
              <a:t>Ongoing Response Time starts after the IRT is fulfilled and continues until the next update is sent to the customer. ORT is reset when case is sent back to SAP Support, paused when waiting for customer action and stopped when the case is resolved. ORT is calculated based on real time for Priorities 1 and 2 and office hours for Priorities 3 and 4. </a:t>
            </a:r>
            <a:endParaRPr lang="en-US">
              <a:cs typeface="Arial"/>
            </a:endParaRPr>
          </a:p>
        </p:txBody>
      </p:sp>
      <p:sp>
        <p:nvSpPr>
          <p:cNvPr id="6" name="Rectangle 5">
            <a:extLst>
              <a:ext uri="{FF2B5EF4-FFF2-40B4-BE49-F238E27FC236}">
                <a16:creationId xmlns:a16="http://schemas.microsoft.com/office/drawing/2014/main" id="{52329796-B39E-4358-8733-91A156F575C0}"/>
              </a:ext>
            </a:extLst>
          </p:cNvPr>
          <p:cNvSpPr/>
          <p:nvPr/>
        </p:nvSpPr>
        <p:spPr>
          <a:xfrm>
            <a:off x="4259229" y="1711841"/>
            <a:ext cx="3646691" cy="5001369"/>
          </a:xfrm>
          <a:prstGeom prst="rect">
            <a:avLst/>
          </a:prstGeom>
        </p:spPr>
        <p:txBody>
          <a:bodyPr wrap="square" anchor="t">
            <a:spAutoFit/>
          </a:bodyPr>
          <a:lstStyle/>
          <a:p>
            <a:pPr defTabSz="914400"/>
            <a:r>
              <a:rPr lang="en-US" sz="1100" b="1">
                <a:ea typeface="ＭＳ Ｐゴシック"/>
                <a:cs typeface="Arial"/>
              </a:rPr>
              <a:t>Definition</a:t>
            </a:r>
          </a:p>
          <a:p>
            <a:pPr defTabSz="914400"/>
            <a:endParaRPr lang="en-US" sz="1100" b="1">
              <a:ea typeface="ＭＳ Ｐゴシック"/>
              <a:cs typeface="Arial"/>
            </a:endParaRPr>
          </a:p>
          <a:p>
            <a:pPr marL="228600" indent="-228600" defTabSz="914400">
              <a:buAutoNum type="arabicPeriod"/>
            </a:pPr>
            <a:r>
              <a:rPr lang="en-US" sz="1100" b="1">
                <a:ea typeface="ＭＳ Ｐゴシック"/>
                <a:cs typeface="Arial"/>
              </a:rPr>
              <a:t>Service Level Agreement (SLA): </a:t>
            </a:r>
            <a:r>
              <a:rPr lang="en-US" sz="1100">
                <a:ea typeface="ＭＳ Ｐゴシック"/>
                <a:cs typeface="Arial"/>
              </a:rPr>
              <a:t>Service Level Agreement is an agreement between an IT service provider and an external customer for recurring IT services. It describes the quality and scope of the IT service, documents service level targets, and specifies the responsibilities of both parties. SLAs include segments such as system availability, reaction times, problem management, processing speed for cases, and disaster recovery scenarios. A single SLA may cover multiple IT services or multiple customers.</a:t>
            </a:r>
          </a:p>
          <a:p>
            <a:pPr defTabSz="914400"/>
            <a:endParaRPr lang="en-US" sz="1100">
              <a:ea typeface="ＭＳ Ｐゴシック"/>
              <a:cs typeface="Arial"/>
            </a:endParaRPr>
          </a:p>
          <a:p>
            <a:pPr marL="228600" indent="-228600" defTabSz="914400">
              <a:buFont typeface="+mj-lt"/>
              <a:buAutoNum type="arabicPeriod" startAt="2"/>
            </a:pPr>
            <a:r>
              <a:rPr lang="en-US" sz="1100" b="1">
                <a:ea typeface="ＭＳ Ｐゴシック"/>
                <a:cs typeface="Arial"/>
              </a:rPr>
              <a:t>System Availability: </a:t>
            </a:r>
            <a:r>
              <a:rPr lang="en-US" sz="1100">
                <a:ea typeface="ＭＳ Ｐゴシック"/>
                <a:cs typeface="Arial"/>
              </a:rPr>
              <a:t>System availability is the probability a system is functioning when needed to, under normal operating conditions. </a:t>
            </a:r>
          </a:p>
          <a:p>
            <a:pPr marL="228600" indent="-228600" defTabSz="914400">
              <a:buFont typeface="+mj-lt"/>
              <a:buAutoNum type="arabicPeriod" startAt="2"/>
            </a:pPr>
            <a:endParaRPr lang="en-US" sz="1100">
              <a:ea typeface="ＭＳ Ｐゴシック"/>
              <a:cs typeface="Arial"/>
            </a:endParaRPr>
          </a:p>
          <a:p>
            <a:pPr marL="228600" indent="-228600" defTabSz="914400">
              <a:buFont typeface="+mj-lt"/>
              <a:buAutoNum type="arabicPeriod" startAt="2"/>
            </a:pPr>
            <a:r>
              <a:rPr lang="en-US" sz="1100" b="1">
                <a:ea typeface="ＭＳ Ｐゴシック"/>
                <a:cs typeface="Arial"/>
              </a:rPr>
              <a:t>Disaster Recovery:</a:t>
            </a:r>
            <a:r>
              <a:rPr lang="en-US" sz="1100">
                <a:ea typeface="ＭＳ Ｐゴシック"/>
                <a:cs typeface="Arial"/>
              </a:rPr>
              <a:t> Disaster recovery is the process of getting a data center back to work after a failure due to disaster scenarios such as power problems, fire, or flood.</a:t>
            </a:r>
          </a:p>
          <a:p>
            <a:pPr defTabSz="914400"/>
            <a:endParaRPr lang="en-US" sz="1100">
              <a:solidFill>
                <a:srgbClr val="FF0000"/>
              </a:solidFill>
              <a:ea typeface="ＭＳ Ｐゴシック"/>
              <a:cs typeface="Arial"/>
            </a:endParaRPr>
          </a:p>
          <a:p>
            <a:pPr marL="228600" indent="-228600" defTabSz="914400">
              <a:buFont typeface="+mj-lt"/>
              <a:buAutoNum type="arabicPeriod" startAt="4"/>
            </a:pPr>
            <a:r>
              <a:rPr lang="en-US" sz="1100" b="1">
                <a:ea typeface="ＭＳ Ｐゴシック"/>
                <a:cs typeface="Arial"/>
              </a:rPr>
              <a:t>Initial Reaction Time (IRT): </a:t>
            </a:r>
            <a:r>
              <a:rPr lang="en-US" sz="1100">
                <a:ea typeface="ＭＳ Ｐゴシック"/>
                <a:cs typeface="Arial"/>
              </a:rPr>
              <a:t>Initial Reaction Time, also known as Initial Response Time, is the time between a record arriving at SAP Support and the first qualified response provided to the customer.</a:t>
            </a:r>
          </a:p>
        </p:txBody>
      </p:sp>
      <p:sp>
        <p:nvSpPr>
          <p:cNvPr id="48" name="Rectangle 47">
            <a:extLst>
              <a:ext uri="{FF2B5EF4-FFF2-40B4-BE49-F238E27FC236}">
                <a16:creationId xmlns:a16="http://schemas.microsoft.com/office/drawing/2014/main" id="{5FEB6003-0778-44C6-9441-D74E0C04C756}"/>
              </a:ext>
            </a:extLst>
          </p:cNvPr>
          <p:cNvSpPr/>
          <p:nvPr/>
        </p:nvSpPr>
        <p:spPr>
          <a:xfrm>
            <a:off x="334347" y="3782140"/>
            <a:ext cx="3500247" cy="261610"/>
          </a:xfrm>
          <a:prstGeom prst="rect">
            <a:avLst/>
          </a:prstGeom>
        </p:spPr>
        <p:txBody>
          <a:bodyPr wrap="square" anchor="t">
            <a:spAutoFit/>
          </a:bodyPr>
          <a:lstStyle/>
          <a:p>
            <a:pPr defTabSz="914400"/>
            <a:endParaRPr lang="en-US" sz="1100">
              <a:ea typeface="ＭＳ Ｐゴシック"/>
              <a:cs typeface="Arial"/>
            </a:endParaRPr>
          </a:p>
        </p:txBody>
      </p:sp>
      <p:pic>
        <p:nvPicPr>
          <p:cNvPr id="51" name="Picture 50">
            <a:extLst>
              <a:ext uri="{FF2B5EF4-FFF2-40B4-BE49-F238E27FC236}">
                <a16:creationId xmlns:a16="http://schemas.microsoft.com/office/drawing/2014/main" id="{3243BB4E-D63B-48D4-8C21-C18097F10D1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6675" y="3254723"/>
            <a:ext cx="3459091" cy="502371"/>
          </a:xfrm>
          <a:prstGeom prst="rect">
            <a:avLst/>
          </a:prstGeom>
        </p:spPr>
      </p:pic>
      <p:sp>
        <p:nvSpPr>
          <p:cNvPr id="52" name="TextBox 51">
            <a:extLst>
              <a:ext uri="{FF2B5EF4-FFF2-40B4-BE49-F238E27FC236}">
                <a16:creationId xmlns:a16="http://schemas.microsoft.com/office/drawing/2014/main" id="{8DF2DB9D-2CA3-4519-ACFC-9AB362A0B632}"/>
              </a:ext>
            </a:extLst>
          </p:cNvPr>
          <p:cNvSpPr txBox="1"/>
          <p:nvPr/>
        </p:nvSpPr>
        <p:spPr>
          <a:xfrm>
            <a:off x="1027019" y="3349462"/>
            <a:ext cx="1605995" cy="3048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Prerequisites</a:t>
            </a:r>
          </a:p>
        </p:txBody>
      </p:sp>
      <p:pic>
        <p:nvPicPr>
          <p:cNvPr id="53" name="Picture 52">
            <a:extLst>
              <a:ext uri="{FF2B5EF4-FFF2-40B4-BE49-F238E27FC236}">
                <a16:creationId xmlns:a16="http://schemas.microsoft.com/office/drawing/2014/main" id="{45813FBA-69E7-4801-B052-E74533BF906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2540" y="4163015"/>
            <a:ext cx="3459091" cy="502371"/>
          </a:xfrm>
          <a:prstGeom prst="rect">
            <a:avLst/>
          </a:prstGeom>
        </p:spPr>
      </p:pic>
      <p:sp>
        <p:nvSpPr>
          <p:cNvPr id="54" name="TextBox 53">
            <a:extLst>
              <a:ext uri="{FF2B5EF4-FFF2-40B4-BE49-F238E27FC236}">
                <a16:creationId xmlns:a16="http://schemas.microsoft.com/office/drawing/2014/main" id="{3011BDC5-2F73-4125-B05F-7F18FB54E2D0}"/>
              </a:ext>
            </a:extLst>
          </p:cNvPr>
          <p:cNvSpPr txBox="1"/>
          <p:nvPr/>
        </p:nvSpPr>
        <p:spPr>
          <a:xfrm>
            <a:off x="1001936" y="4217642"/>
            <a:ext cx="1605995" cy="3600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Overview</a:t>
            </a:r>
          </a:p>
        </p:txBody>
      </p:sp>
      <p:pic>
        <p:nvPicPr>
          <p:cNvPr id="55" name="Picture 54">
            <a:extLst>
              <a:ext uri="{FF2B5EF4-FFF2-40B4-BE49-F238E27FC236}">
                <a16:creationId xmlns:a16="http://schemas.microsoft.com/office/drawing/2014/main" id="{1B63D2A6-CB99-4E4F-AB7E-8D2AF5E8F873}"/>
              </a:ext>
            </a:extLst>
          </p:cNvPr>
          <p:cNvPicPr>
            <a:picLocks noChangeAspect="1"/>
          </p:cNvPicPr>
          <p:nvPr/>
        </p:nvPicPr>
        <p:blipFill>
          <a:blip r:embed="rId12"/>
          <a:stretch>
            <a:fillRect/>
          </a:stretch>
        </p:blipFill>
        <p:spPr>
          <a:xfrm>
            <a:off x="369657" y="4094766"/>
            <a:ext cx="666403" cy="636330"/>
          </a:xfrm>
          <a:prstGeom prst="rect">
            <a:avLst/>
          </a:prstGeom>
        </p:spPr>
      </p:pic>
      <p:sp>
        <p:nvSpPr>
          <p:cNvPr id="56" name="Rectangle 55">
            <a:extLst>
              <a:ext uri="{FF2B5EF4-FFF2-40B4-BE49-F238E27FC236}">
                <a16:creationId xmlns:a16="http://schemas.microsoft.com/office/drawing/2014/main" id="{CC6014B8-A178-4DE5-88CA-182F76ECA790}"/>
              </a:ext>
            </a:extLst>
          </p:cNvPr>
          <p:cNvSpPr/>
          <p:nvPr/>
        </p:nvSpPr>
        <p:spPr>
          <a:xfrm>
            <a:off x="369486" y="3804609"/>
            <a:ext cx="3500247" cy="261610"/>
          </a:xfrm>
          <a:prstGeom prst="rect">
            <a:avLst/>
          </a:prstGeom>
        </p:spPr>
        <p:txBody>
          <a:bodyPr wrap="square" anchor="t">
            <a:spAutoFit/>
          </a:bodyPr>
          <a:lstStyle/>
          <a:p>
            <a:pPr defTabSz="914400"/>
            <a:r>
              <a:rPr lang="en-US" sz="1100">
                <a:solidFill>
                  <a:srgbClr val="000000"/>
                </a:solidFill>
                <a:ea typeface="ＭＳ Ｐゴシック"/>
              </a:rPr>
              <a:t>Refer to the Quick Reference Card for Case/Incident</a:t>
            </a:r>
            <a:endParaRPr lang="en-US" sz="1100">
              <a:solidFill>
                <a:srgbClr val="000000"/>
              </a:solidFill>
              <a:ea typeface="ＭＳ Ｐゴシック" pitchFamily="34" charset="-128"/>
            </a:endParaRPr>
          </a:p>
        </p:txBody>
      </p:sp>
      <p:pic>
        <p:nvPicPr>
          <p:cNvPr id="61" name="Picture 76">
            <a:extLst>
              <a:ext uri="{FF2B5EF4-FFF2-40B4-BE49-F238E27FC236}">
                <a16:creationId xmlns:a16="http://schemas.microsoft.com/office/drawing/2014/main" id="{1DBB7B74-DC6A-4727-96F3-A4B0D7889996}"/>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391457" y="3146375"/>
            <a:ext cx="675418" cy="675418"/>
          </a:xfrm>
          <a:prstGeom prst="rect">
            <a:avLst/>
          </a:prstGeom>
        </p:spPr>
      </p:pic>
      <p:pic>
        <p:nvPicPr>
          <p:cNvPr id="50" name="Picture 49" descr="A close up of a logo&#10;&#10;Description generated with very high confidence">
            <a:extLst>
              <a:ext uri="{FF2B5EF4-FFF2-40B4-BE49-F238E27FC236}">
                <a16:creationId xmlns:a16="http://schemas.microsoft.com/office/drawing/2014/main" id="{77F32AF2-FF4F-406D-9ACE-3C8099A5A342}"/>
              </a:ext>
            </a:extLst>
          </p:cNvPr>
          <p:cNvPicPr>
            <a:picLocks noChangeAspect="1"/>
          </p:cNvPicPr>
          <p:nvPr/>
        </p:nvPicPr>
        <p:blipFill>
          <a:blip r:embed="rId11"/>
          <a:stretch>
            <a:fillRect/>
          </a:stretch>
        </p:blipFill>
        <p:spPr>
          <a:xfrm>
            <a:off x="8070077" y="756443"/>
            <a:ext cx="1104390" cy="1104390"/>
          </a:xfrm>
          <a:prstGeom prst="rect">
            <a:avLst/>
          </a:prstGeom>
        </p:spPr>
      </p:pic>
    </p:spTree>
    <p:extLst>
      <p:ext uri="{BB962C8B-B14F-4D97-AF65-F5344CB8AC3E}">
        <p14:creationId xmlns:p14="http://schemas.microsoft.com/office/powerpoint/2010/main" val="33218351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05B5FF9-9B22-4FFF-B41D-0F63D084F0F0}"/>
              </a:ext>
            </a:extLst>
          </p:cNvPr>
          <p:cNvGraphicFramePr>
            <a:graphicFrameLocks noChangeAspect="1"/>
          </p:cNvGraphicFramePr>
          <p:nvPr>
            <p:custDataLst>
              <p:tags r:id="rId2"/>
            </p:custDataLst>
            <p:extLst>
              <p:ext uri="{D42A27DB-BD31-4B8C-83A1-F6EECF244321}">
                <p14:modId xmlns:p14="http://schemas.microsoft.com/office/powerpoint/2010/main" val="3001309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6" imgW="395" imgH="396" progId="TCLayout.ActiveDocument.1">
                  <p:embed/>
                </p:oleObj>
              </mc:Choice>
              <mc:Fallback>
                <p:oleObj name="think-cell Slide" r:id="rId6" imgW="395" imgH="396" progId="TCLayout.ActiveDocument.1">
                  <p:embed/>
                  <p:pic>
                    <p:nvPicPr>
                      <p:cNvPr id="4" name="Object 3" hidden="1">
                        <a:extLst>
                          <a:ext uri="{FF2B5EF4-FFF2-40B4-BE49-F238E27FC236}">
                            <a16:creationId xmlns:a16="http://schemas.microsoft.com/office/drawing/2014/main" id="{205B5FF9-9B22-4FFF-B41D-0F63D084F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53C733-5B66-41A2-AC5F-9C8B7DCDE77F}"/>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en-US" sz="2400" b="1" u="none" strike="noStrike" kern="0" cap="none" spc="0" normalizeH="0" noProof="0">
              <a:ln>
                <a:noFill/>
              </a:ln>
              <a:effectLst/>
              <a:uLnTx/>
              <a:uFillTx/>
              <a:latin typeface="Arial" panose="020B0604020202020204" pitchFamily="34" charset="0"/>
              <a:ea typeface="+mj-ea"/>
              <a:cs typeface="+mj-cs"/>
              <a:sym typeface="Arial" panose="020B0604020202020204" pitchFamily="34" charset="0"/>
            </a:endParaRPr>
          </a:p>
        </p:txBody>
      </p:sp>
      <p:sp>
        <p:nvSpPr>
          <p:cNvPr id="24" name="Title"/>
          <p:cNvSpPr>
            <a:spLocks noGrp="1"/>
          </p:cNvSpPr>
          <p:nvPr>
            <p:ph type="title"/>
          </p:nvPr>
        </p:nvSpPr>
        <p:spPr bwMode="gray">
          <a:xfrm>
            <a:off x="504001" y="504000"/>
            <a:ext cx="9720000" cy="369332"/>
          </a:xfrm>
        </p:spPr>
        <p:txBody>
          <a:bodyPr/>
          <a:lstStyle/>
          <a:p>
            <a:r>
              <a:rPr lang="en-US"/>
              <a:t>Harmonized Customer Service Management (HCSM) Terminology</a:t>
            </a:r>
          </a:p>
        </p:txBody>
      </p:sp>
      <p:sp>
        <p:nvSpPr>
          <p:cNvPr id="22" name="Rectangle 21">
            <a:extLst>
              <a:ext uri="{FF2B5EF4-FFF2-40B4-BE49-F238E27FC236}">
                <a16:creationId xmlns:a16="http://schemas.microsoft.com/office/drawing/2014/main" id="{1A15397A-139C-4968-9BFE-F6ABEB7110D5}"/>
              </a:ext>
            </a:extLst>
          </p:cNvPr>
          <p:cNvSpPr/>
          <p:nvPr/>
        </p:nvSpPr>
        <p:spPr>
          <a:xfrm>
            <a:off x="309489" y="1867439"/>
            <a:ext cx="3634896" cy="430887"/>
          </a:xfrm>
          <a:prstGeom prst="rect">
            <a:avLst/>
          </a:prstGeom>
        </p:spPr>
        <p:txBody>
          <a:bodyPr wrap="square" anchor="t">
            <a:spAutoFit/>
          </a:bodyPr>
          <a:lstStyle/>
          <a:p>
            <a:pPr defTabSz="914400"/>
            <a:r>
              <a:rPr lang="en-US" sz="1100">
                <a:solidFill>
                  <a:srgbClr val="000000"/>
                </a:solidFill>
                <a:ea typeface="ＭＳ Ｐゴシック"/>
              </a:rPr>
              <a:t>This document explains the terms </a:t>
            </a:r>
            <a:r>
              <a:rPr lang="en-US" sz="1100" b="1">
                <a:solidFill>
                  <a:srgbClr val="000000"/>
                </a:solidFill>
                <a:ea typeface="ＭＳ Ｐゴシック"/>
              </a:rPr>
              <a:t>Major Case, Major Incident, Child Incident, and Parent Incident</a:t>
            </a:r>
            <a:r>
              <a:rPr lang="en-US" sz="1100">
                <a:solidFill>
                  <a:srgbClr val="000000"/>
                </a:solidFill>
                <a:ea typeface="ＭＳ Ｐゴシック"/>
              </a:rPr>
              <a:t>.</a:t>
            </a:r>
            <a:endParaRPr lang="en-US" sz="1100">
              <a:solidFill>
                <a:srgbClr val="000000"/>
              </a:solidFill>
              <a:ea typeface="ＭＳ Ｐゴシック" pitchFamily="34" charset="-128"/>
            </a:endParaRPr>
          </a:p>
        </p:txBody>
      </p:sp>
      <p:sp>
        <p:nvSpPr>
          <p:cNvPr id="23" name="Rectangle 22">
            <a:extLst>
              <a:ext uri="{FF2B5EF4-FFF2-40B4-BE49-F238E27FC236}">
                <a16:creationId xmlns:a16="http://schemas.microsoft.com/office/drawing/2014/main" id="{5BD93C33-1D0D-495A-B7BA-8F4B366EE2C2}"/>
              </a:ext>
            </a:extLst>
          </p:cNvPr>
          <p:cNvSpPr/>
          <p:nvPr/>
        </p:nvSpPr>
        <p:spPr>
          <a:xfrm>
            <a:off x="334347" y="3782140"/>
            <a:ext cx="3500247" cy="261610"/>
          </a:xfrm>
          <a:prstGeom prst="rect">
            <a:avLst/>
          </a:prstGeom>
        </p:spPr>
        <p:txBody>
          <a:bodyPr wrap="square" anchor="t">
            <a:spAutoFit/>
          </a:bodyPr>
          <a:lstStyle/>
          <a:p>
            <a:pPr defTabSz="914400"/>
            <a:r>
              <a:rPr lang="en-US" sz="1100">
                <a:solidFill>
                  <a:srgbClr val="000000"/>
                </a:solidFill>
                <a:ea typeface="ＭＳ Ｐゴシック"/>
              </a:rPr>
              <a:t>Refer to the Quick Reference Card for Case/Incident</a:t>
            </a:r>
            <a:endParaRPr lang="en-US" sz="1100">
              <a:solidFill>
                <a:srgbClr val="000000"/>
              </a:solidFill>
              <a:ea typeface="ＭＳ Ｐゴシック" pitchFamily="34" charset="-128"/>
            </a:endParaRPr>
          </a:p>
        </p:txBody>
      </p:sp>
      <p:sp>
        <p:nvSpPr>
          <p:cNvPr id="25" name="Rectangle 24">
            <a:extLst>
              <a:ext uri="{FF2B5EF4-FFF2-40B4-BE49-F238E27FC236}">
                <a16:creationId xmlns:a16="http://schemas.microsoft.com/office/drawing/2014/main" id="{0F7FA3AC-2E37-4C1D-899F-43D804EDA184}"/>
              </a:ext>
            </a:extLst>
          </p:cNvPr>
          <p:cNvSpPr/>
          <p:nvPr/>
        </p:nvSpPr>
        <p:spPr>
          <a:xfrm>
            <a:off x="373521" y="2875383"/>
            <a:ext cx="2921113" cy="261610"/>
          </a:xfrm>
          <a:prstGeom prst="rect">
            <a:avLst/>
          </a:prstGeom>
        </p:spPr>
        <p:txBody>
          <a:bodyPr wrap="square">
            <a:spAutoFit/>
          </a:bodyPr>
          <a:lstStyle/>
          <a:p>
            <a:pPr defTabSz="914400">
              <a:buClr>
                <a:srgbClr val="003068"/>
              </a:buClr>
            </a:pPr>
            <a:r>
              <a:rPr lang="en-US" sz="1100">
                <a:solidFill>
                  <a:srgbClr val="000000"/>
                </a:solidFill>
                <a:ea typeface="ＭＳ Ｐゴシック" pitchFamily="34" charset="-128"/>
              </a:rPr>
              <a:t>Support, Development, and Operations</a:t>
            </a:r>
          </a:p>
        </p:txBody>
      </p:sp>
      <p:cxnSp>
        <p:nvCxnSpPr>
          <p:cNvPr id="26" name="Straight Connector 25">
            <a:extLst>
              <a:ext uri="{FF2B5EF4-FFF2-40B4-BE49-F238E27FC236}">
                <a16:creationId xmlns:a16="http://schemas.microsoft.com/office/drawing/2014/main" id="{4DDE0BC5-D2CC-4A9F-B156-8FEBE451986D}"/>
              </a:ext>
            </a:extLst>
          </p:cNvPr>
          <p:cNvCxnSpPr>
            <a:cxnSpLocks/>
          </p:cNvCxnSpPr>
          <p:nvPr/>
        </p:nvCxnSpPr>
        <p:spPr>
          <a:xfrm>
            <a:off x="4052248" y="1075408"/>
            <a:ext cx="24466" cy="5474056"/>
          </a:xfrm>
          <a:prstGeom prst="line">
            <a:avLst/>
          </a:prstGeom>
          <a:ln w="6350">
            <a:solidFill>
              <a:srgbClr val="0095D3">
                <a:alpha val="50000"/>
              </a:srgb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44BFDF2-6F65-4134-ADA9-E8F6643D24A6}"/>
              </a:ext>
            </a:extLst>
          </p:cNvPr>
          <p:cNvCxnSpPr>
            <a:cxnSpLocks/>
          </p:cNvCxnSpPr>
          <p:nvPr/>
        </p:nvCxnSpPr>
        <p:spPr>
          <a:xfrm>
            <a:off x="7999722" y="1069374"/>
            <a:ext cx="24466" cy="5474056"/>
          </a:xfrm>
          <a:prstGeom prst="line">
            <a:avLst/>
          </a:prstGeom>
          <a:ln w="6350">
            <a:solidFill>
              <a:srgbClr val="0095D3">
                <a:alpha val="50000"/>
              </a:srgb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758CF31-74D6-4044-B856-556C9E2081FD}"/>
              </a:ext>
            </a:extLst>
          </p:cNvPr>
          <p:cNvSpPr txBox="1"/>
          <p:nvPr/>
        </p:nvSpPr>
        <p:spPr>
          <a:xfrm>
            <a:off x="940596" y="1179874"/>
            <a:ext cx="1605995" cy="3600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Description</a:t>
            </a:r>
            <a:endParaRPr lang="en-US" sz="1800">
              <a:solidFill>
                <a:srgbClr val="717074"/>
              </a:solidFill>
            </a:endParaRPr>
          </a:p>
        </p:txBody>
      </p:sp>
      <p:grpSp>
        <p:nvGrpSpPr>
          <p:cNvPr id="31" name="Group 30">
            <a:extLst>
              <a:ext uri="{FF2B5EF4-FFF2-40B4-BE49-F238E27FC236}">
                <a16:creationId xmlns:a16="http://schemas.microsoft.com/office/drawing/2014/main" id="{661D79AC-0556-4189-96B2-BBF3BA0DFC47}"/>
              </a:ext>
            </a:extLst>
          </p:cNvPr>
          <p:cNvGrpSpPr>
            <a:grpSpLocks noChangeAspect="1"/>
          </p:cNvGrpSpPr>
          <p:nvPr/>
        </p:nvGrpSpPr>
        <p:grpSpPr>
          <a:xfrm>
            <a:off x="630255" y="1210507"/>
            <a:ext cx="416203" cy="317631"/>
            <a:chOff x="3494088" y="5276851"/>
            <a:chExt cx="939801" cy="839788"/>
          </a:xfrm>
          <a:solidFill>
            <a:schemeClr val="bg1"/>
          </a:solidFill>
        </p:grpSpPr>
        <p:sp>
          <p:nvSpPr>
            <p:cNvPr id="32" name="Freeform 1961">
              <a:extLst>
                <a:ext uri="{FF2B5EF4-FFF2-40B4-BE49-F238E27FC236}">
                  <a16:creationId xmlns:a16="http://schemas.microsoft.com/office/drawing/2014/main" id="{BD0ED1A1-6215-4E00-92FD-EA257CE3808A}"/>
                </a:ext>
              </a:extLst>
            </p:cNvPr>
            <p:cNvSpPr>
              <a:spLocks/>
            </p:cNvSpPr>
            <p:nvPr/>
          </p:nvSpPr>
          <p:spPr bwMode="auto">
            <a:xfrm>
              <a:off x="3494088" y="5276851"/>
              <a:ext cx="687388" cy="839788"/>
            </a:xfrm>
            <a:custGeom>
              <a:avLst/>
              <a:gdLst>
                <a:gd name="T0" fmla="*/ 401 w 433"/>
                <a:gd name="T1" fmla="*/ 370 h 529"/>
                <a:gd name="T2" fmla="*/ 401 w 433"/>
                <a:gd name="T3" fmla="*/ 473 h 529"/>
                <a:gd name="T4" fmla="*/ 399 w 433"/>
                <a:gd name="T5" fmla="*/ 482 h 529"/>
                <a:gd name="T6" fmla="*/ 394 w 433"/>
                <a:gd name="T7" fmla="*/ 490 h 529"/>
                <a:gd name="T8" fmla="*/ 386 w 433"/>
                <a:gd name="T9" fmla="*/ 495 h 529"/>
                <a:gd name="T10" fmla="*/ 376 w 433"/>
                <a:gd name="T11" fmla="*/ 497 h 529"/>
                <a:gd name="T12" fmla="*/ 57 w 433"/>
                <a:gd name="T13" fmla="*/ 497 h 529"/>
                <a:gd name="T14" fmla="*/ 47 w 433"/>
                <a:gd name="T15" fmla="*/ 495 h 529"/>
                <a:gd name="T16" fmla="*/ 40 w 433"/>
                <a:gd name="T17" fmla="*/ 490 h 529"/>
                <a:gd name="T18" fmla="*/ 35 w 433"/>
                <a:gd name="T19" fmla="*/ 482 h 529"/>
                <a:gd name="T20" fmla="*/ 33 w 433"/>
                <a:gd name="T21" fmla="*/ 473 h 529"/>
                <a:gd name="T22" fmla="*/ 33 w 433"/>
                <a:gd name="T23" fmla="*/ 56 h 529"/>
                <a:gd name="T24" fmla="*/ 35 w 433"/>
                <a:gd name="T25" fmla="*/ 47 h 529"/>
                <a:gd name="T26" fmla="*/ 40 w 433"/>
                <a:gd name="T27" fmla="*/ 39 h 529"/>
                <a:gd name="T28" fmla="*/ 47 w 433"/>
                <a:gd name="T29" fmla="*/ 34 h 529"/>
                <a:gd name="T30" fmla="*/ 57 w 433"/>
                <a:gd name="T31" fmla="*/ 32 h 529"/>
                <a:gd name="T32" fmla="*/ 376 w 433"/>
                <a:gd name="T33" fmla="*/ 32 h 529"/>
                <a:gd name="T34" fmla="*/ 386 w 433"/>
                <a:gd name="T35" fmla="*/ 34 h 529"/>
                <a:gd name="T36" fmla="*/ 394 w 433"/>
                <a:gd name="T37" fmla="*/ 39 h 529"/>
                <a:gd name="T38" fmla="*/ 399 w 433"/>
                <a:gd name="T39" fmla="*/ 47 h 529"/>
                <a:gd name="T40" fmla="*/ 401 w 433"/>
                <a:gd name="T41" fmla="*/ 56 h 529"/>
                <a:gd name="T42" fmla="*/ 401 w 433"/>
                <a:gd name="T43" fmla="*/ 192 h 529"/>
                <a:gd name="T44" fmla="*/ 433 w 433"/>
                <a:gd name="T45" fmla="*/ 169 h 529"/>
                <a:gd name="T46" fmla="*/ 433 w 433"/>
                <a:gd name="T47" fmla="*/ 56 h 529"/>
                <a:gd name="T48" fmla="*/ 430 w 433"/>
                <a:gd name="T49" fmla="*/ 39 h 529"/>
                <a:gd name="T50" fmla="*/ 422 w 433"/>
                <a:gd name="T51" fmla="*/ 23 h 529"/>
                <a:gd name="T52" fmla="*/ 410 w 433"/>
                <a:gd name="T53" fmla="*/ 11 h 529"/>
                <a:gd name="T54" fmla="*/ 394 w 433"/>
                <a:gd name="T55" fmla="*/ 3 h 529"/>
                <a:gd name="T56" fmla="*/ 376 w 433"/>
                <a:gd name="T57" fmla="*/ 0 h 529"/>
                <a:gd name="T58" fmla="*/ 57 w 433"/>
                <a:gd name="T59" fmla="*/ 0 h 529"/>
                <a:gd name="T60" fmla="*/ 39 w 433"/>
                <a:gd name="T61" fmla="*/ 3 h 529"/>
                <a:gd name="T62" fmla="*/ 24 w 433"/>
                <a:gd name="T63" fmla="*/ 11 h 529"/>
                <a:gd name="T64" fmla="*/ 11 w 433"/>
                <a:gd name="T65" fmla="*/ 23 h 529"/>
                <a:gd name="T66" fmla="*/ 3 w 433"/>
                <a:gd name="T67" fmla="*/ 39 h 529"/>
                <a:gd name="T68" fmla="*/ 0 w 433"/>
                <a:gd name="T69" fmla="*/ 56 h 529"/>
                <a:gd name="T70" fmla="*/ 0 w 433"/>
                <a:gd name="T71" fmla="*/ 473 h 529"/>
                <a:gd name="T72" fmla="*/ 3 w 433"/>
                <a:gd name="T73" fmla="*/ 490 h 529"/>
                <a:gd name="T74" fmla="*/ 11 w 433"/>
                <a:gd name="T75" fmla="*/ 506 h 529"/>
                <a:gd name="T76" fmla="*/ 24 w 433"/>
                <a:gd name="T77" fmla="*/ 518 h 529"/>
                <a:gd name="T78" fmla="*/ 39 w 433"/>
                <a:gd name="T79" fmla="*/ 526 h 529"/>
                <a:gd name="T80" fmla="*/ 57 w 433"/>
                <a:gd name="T81" fmla="*/ 529 h 529"/>
                <a:gd name="T82" fmla="*/ 376 w 433"/>
                <a:gd name="T83" fmla="*/ 529 h 529"/>
                <a:gd name="T84" fmla="*/ 394 w 433"/>
                <a:gd name="T85" fmla="*/ 526 h 529"/>
                <a:gd name="T86" fmla="*/ 410 w 433"/>
                <a:gd name="T87" fmla="*/ 518 h 529"/>
                <a:gd name="T88" fmla="*/ 422 w 433"/>
                <a:gd name="T89" fmla="*/ 506 h 529"/>
                <a:gd name="T90" fmla="*/ 430 w 433"/>
                <a:gd name="T91" fmla="*/ 490 h 529"/>
                <a:gd name="T92" fmla="*/ 433 w 433"/>
                <a:gd name="T93" fmla="*/ 473 h 529"/>
                <a:gd name="T94" fmla="*/ 433 w 433"/>
                <a:gd name="T95" fmla="*/ 346 h 529"/>
                <a:gd name="T96" fmla="*/ 401 w 433"/>
                <a:gd name="T97" fmla="*/ 37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3" h="529">
                  <a:moveTo>
                    <a:pt x="401" y="370"/>
                  </a:moveTo>
                  <a:lnTo>
                    <a:pt x="401" y="473"/>
                  </a:lnTo>
                  <a:lnTo>
                    <a:pt x="399" y="482"/>
                  </a:lnTo>
                  <a:lnTo>
                    <a:pt x="394" y="490"/>
                  </a:lnTo>
                  <a:lnTo>
                    <a:pt x="386" y="495"/>
                  </a:lnTo>
                  <a:lnTo>
                    <a:pt x="376" y="497"/>
                  </a:lnTo>
                  <a:lnTo>
                    <a:pt x="57" y="497"/>
                  </a:lnTo>
                  <a:lnTo>
                    <a:pt x="47" y="495"/>
                  </a:lnTo>
                  <a:lnTo>
                    <a:pt x="40" y="490"/>
                  </a:lnTo>
                  <a:lnTo>
                    <a:pt x="35" y="482"/>
                  </a:lnTo>
                  <a:lnTo>
                    <a:pt x="33" y="473"/>
                  </a:lnTo>
                  <a:lnTo>
                    <a:pt x="33" y="56"/>
                  </a:lnTo>
                  <a:lnTo>
                    <a:pt x="35" y="47"/>
                  </a:lnTo>
                  <a:lnTo>
                    <a:pt x="40" y="39"/>
                  </a:lnTo>
                  <a:lnTo>
                    <a:pt x="47" y="34"/>
                  </a:lnTo>
                  <a:lnTo>
                    <a:pt x="57" y="32"/>
                  </a:lnTo>
                  <a:lnTo>
                    <a:pt x="376" y="32"/>
                  </a:lnTo>
                  <a:lnTo>
                    <a:pt x="386" y="34"/>
                  </a:lnTo>
                  <a:lnTo>
                    <a:pt x="394" y="39"/>
                  </a:lnTo>
                  <a:lnTo>
                    <a:pt x="399" y="47"/>
                  </a:lnTo>
                  <a:lnTo>
                    <a:pt x="401" y="56"/>
                  </a:lnTo>
                  <a:lnTo>
                    <a:pt x="401" y="192"/>
                  </a:lnTo>
                  <a:lnTo>
                    <a:pt x="433" y="169"/>
                  </a:lnTo>
                  <a:lnTo>
                    <a:pt x="433" y="56"/>
                  </a:lnTo>
                  <a:lnTo>
                    <a:pt x="430" y="39"/>
                  </a:lnTo>
                  <a:lnTo>
                    <a:pt x="422" y="23"/>
                  </a:lnTo>
                  <a:lnTo>
                    <a:pt x="410" y="11"/>
                  </a:lnTo>
                  <a:lnTo>
                    <a:pt x="394" y="3"/>
                  </a:lnTo>
                  <a:lnTo>
                    <a:pt x="376" y="0"/>
                  </a:lnTo>
                  <a:lnTo>
                    <a:pt x="57" y="0"/>
                  </a:lnTo>
                  <a:lnTo>
                    <a:pt x="39" y="3"/>
                  </a:lnTo>
                  <a:lnTo>
                    <a:pt x="24" y="11"/>
                  </a:lnTo>
                  <a:lnTo>
                    <a:pt x="11" y="23"/>
                  </a:lnTo>
                  <a:lnTo>
                    <a:pt x="3" y="39"/>
                  </a:lnTo>
                  <a:lnTo>
                    <a:pt x="0" y="56"/>
                  </a:lnTo>
                  <a:lnTo>
                    <a:pt x="0" y="473"/>
                  </a:lnTo>
                  <a:lnTo>
                    <a:pt x="3" y="490"/>
                  </a:lnTo>
                  <a:lnTo>
                    <a:pt x="11" y="506"/>
                  </a:lnTo>
                  <a:lnTo>
                    <a:pt x="24" y="518"/>
                  </a:lnTo>
                  <a:lnTo>
                    <a:pt x="39" y="526"/>
                  </a:lnTo>
                  <a:lnTo>
                    <a:pt x="57" y="529"/>
                  </a:lnTo>
                  <a:lnTo>
                    <a:pt x="376" y="529"/>
                  </a:lnTo>
                  <a:lnTo>
                    <a:pt x="394" y="526"/>
                  </a:lnTo>
                  <a:lnTo>
                    <a:pt x="410" y="518"/>
                  </a:lnTo>
                  <a:lnTo>
                    <a:pt x="422" y="506"/>
                  </a:lnTo>
                  <a:lnTo>
                    <a:pt x="430" y="490"/>
                  </a:lnTo>
                  <a:lnTo>
                    <a:pt x="433" y="473"/>
                  </a:lnTo>
                  <a:lnTo>
                    <a:pt x="433" y="346"/>
                  </a:lnTo>
                  <a:lnTo>
                    <a:pt x="401" y="3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3" name="Freeform 1962">
              <a:extLst>
                <a:ext uri="{FF2B5EF4-FFF2-40B4-BE49-F238E27FC236}">
                  <a16:creationId xmlns:a16="http://schemas.microsoft.com/office/drawing/2014/main" id="{CDFE449F-26EC-4FF6-BD98-56F1CDD47373}"/>
                </a:ext>
              </a:extLst>
            </p:cNvPr>
            <p:cNvSpPr>
              <a:spLocks noEditPoints="1"/>
            </p:cNvSpPr>
            <p:nvPr/>
          </p:nvSpPr>
          <p:spPr bwMode="auto">
            <a:xfrm>
              <a:off x="3965576" y="5475288"/>
              <a:ext cx="468313" cy="377825"/>
            </a:xfrm>
            <a:custGeom>
              <a:avLst/>
              <a:gdLst>
                <a:gd name="T0" fmla="*/ 257 w 295"/>
                <a:gd name="T1" fmla="*/ 5 h 238"/>
                <a:gd name="T2" fmla="*/ 230 w 295"/>
                <a:gd name="T3" fmla="*/ 1 h 238"/>
                <a:gd name="T4" fmla="*/ 43 w 295"/>
                <a:gd name="T5" fmla="*/ 136 h 238"/>
                <a:gd name="T6" fmla="*/ 34 w 295"/>
                <a:gd name="T7" fmla="*/ 154 h 238"/>
                <a:gd name="T8" fmla="*/ 15 w 295"/>
                <a:gd name="T9" fmla="*/ 189 h 238"/>
                <a:gd name="T10" fmla="*/ 3 w 295"/>
                <a:gd name="T11" fmla="*/ 213 h 238"/>
                <a:gd name="T12" fmla="*/ 0 w 295"/>
                <a:gd name="T13" fmla="*/ 224 h 238"/>
                <a:gd name="T14" fmla="*/ 6 w 295"/>
                <a:gd name="T15" fmla="*/ 237 h 238"/>
                <a:gd name="T16" fmla="*/ 37 w 295"/>
                <a:gd name="T17" fmla="*/ 235 h 238"/>
                <a:gd name="T18" fmla="*/ 82 w 295"/>
                <a:gd name="T19" fmla="*/ 225 h 238"/>
                <a:gd name="T20" fmla="*/ 104 w 295"/>
                <a:gd name="T21" fmla="*/ 219 h 238"/>
                <a:gd name="T22" fmla="*/ 282 w 295"/>
                <a:gd name="T23" fmla="*/ 89 h 238"/>
                <a:gd name="T24" fmla="*/ 294 w 295"/>
                <a:gd name="T25" fmla="*/ 56 h 238"/>
                <a:gd name="T26" fmla="*/ 34 w 295"/>
                <a:gd name="T27" fmla="*/ 211 h 238"/>
                <a:gd name="T28" fmla="*/ 29 w 295"/>
                <a:gd name="T29" fmla="*/ 195 h 238"/>
                <a:gd name="T30" fmla="*/ 41 w 295"/>
                <a:gd name="T31" fmla="*/ 172 h 238"/>
                <a:gd name="T32" fmla="*/ 77 w 295"/>
                <a:gd name="T33" fmla="*/ 210 h 238"/>
                <a:gd name="T34" fmla="*/ 59 w 295"/>
                <a:gd name="T35" fmla="*/ 214 h 238"/>
                <a:gd name="T36" fmla="*/ 88 w 295"/>
                <a:gd name="T37" fmla="*/ 140 h 238"/>
                <a:gd name="T38" fmla="*/ 83 w 295"/>
                <a:gd name="T39" fmla="*/ 137 h 238"/>
                <a:gd name="T40" fmla="*/ 83 w 295"/>
                <a:gd name="T41" fmla="*/ 131 h 238"/>
                <a:gd name="T42" fmla="*/ 182 w 295"/>
                <a:gd name="T43" fmla="*/ 57 h 238"/>
                <a:gd name="T44" fmla="*/ 188 w 295"/>
                <a:gd name="T45" fmla="*/ 60 h 238"/>
                <a:gd name="T46" fmla="*/ 188 w 295"/>
                <a:gd name="T47" fmla="*/ 66 h 238"/>
                <a:gd name="T48" fmla="*/ 90 w 295"/>
                <a:gd name="T49" fmla="*/ 140 h 238"/>
                <a:gd name="T50" fmla="*/ 102 w 295"/>
                <a:gd name="T51" fmla="*/ 161 h 238"/>
                <a:gd name="T52" fmla="*/ 98 w 295"/>
                <a:gd name="T53" fmla="*/ 157 h 238"/>
                <a:gd name="T54" fmla="*/ 100 w 295"/>
                <a:gd name="T55" fmla="*/ 151 h 238"/>
                <a:gd name="T56" fmla="*/ 201 w 295"/>
                <a:gd name="T57" fmla="*/ 79 h 238"/>
                <a:gd name="T58" fmla="*/ 206 w 295"/>
                <a:gd name="T59" fmla="*/ 84 h 238"/>
                <a:gd name="T60" fmla="*/ 204 w 295"/>
                <a:gd name="T61" fmla="*/ 90 h 238"/>
                <a:gd name="T62" fmla="*/ 104 w 295"/>
                <a:gd name="T63" fmla="*/ 162 h 238"/>
                <a:gd name="T64" fmla="*/ 122 w 295"/>
                <a:gd name="T65" fmla="*/ 183 h 238"/>
                <a:gd name="T66" fmla="*/ 117 w 295"/>
                <a:gd name="T67" fmla="*/ 182 h 238"/>
                <a:gd name="T68" fmla="*/ 114 w 295"/>
                <a:gd name="T69" fmla="*/ 176 h 238"/>
                <a:gd name="T70" fmla="*/ 213 w 295"/>
                <a:gd name="T71" fmla="*/ 102 h 238"/>
                <a:gd name="T72" fmla="*/ 220 w 295"/>
                <a:gd name="T73" fmla="*/ 102 h 238"/>
                <a:gd name="T74" fmla="*/ 222 w 295"/>
                <a:gd name="T75" fmla="*/ 108 h 238"/>
                <a:gd name="T76" fmla="*/ 271 w 295"/>
                <a:gd name="T77" fmla="*/ 74 h 238"/>
                <a:gd name="T78" fmla="*/ 232 w 295"/>
                <a:gd name="T79" fmla="*/ 20 h 238"/>
                <a:gd name="T80" fmla="*/ 239 w 295"/>
                <a:gd name="T81" fmla="*/ 18 h 238"/>
                <a:gd name="T82" fmla="*/ 250 w 295"/>
                <a:gd name="T83" fmla="*/ 23 h 238"/>
                <a:gd name="T84" fmla="*/ 276 w 295"/>
                <a:gd name="T85" fmla="*/ 6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5" h="238">
                  <a:moveTo>
                    <a:pt x="289" y="45"/>
                  </a:moveTo>
                  <a:lnTo>
                    <a:pt x="265" y="12"/>
                  </a:lnTo>
                  <a:lnTo>
                    <a:pt x="257" y="5"/>
                  </a:lnTo>
                  <a:lnTo>
                    <a:pt x="249" y="1"/>
                  </a:lnTo>
                  <a:lnTo>
                    <a:pt x="239" y="0"/>
                  </a:lnTo>
                  <a:lnTo>
                    <a:pt x="230" y="1"/>
                  </a:lnTo>
                  <a:lnTo>
                    <a:pt x="221" y="6"/>
                  </a:lnTo>
                  <a:lnTo>
                    <a:pt x="203" y="19"/>
                  </a:lnTo>
                  <a:lnTo>
                    <a:pt x="43" y="136"/>
                  </a:lnTo>
                  <a:lnTo>
                    <a:pt x="42" y="139"/>
                  </a:lnTo>
                  <a:lnTo>
                    <a:pt x="39" y="145"/>
                  </a:lnTo>
                  <a:lnTo>
                    <a:pt x="34" y="154"/>
                  </a:lnTo>
                  <a:lnTo>
                    <a:pt x="28" y="166"/>
                  </a:lnTo>
                  <a:lnTo>
                    <a:pt x="21" y="178"/>
                  </a:lnTo>
                  <a:lnTo>
                    <a:pt x="15" y="189"/>
                  </a:lnTo>
                  <a:lnTo>
                    <a:pt x="10" y="200"/>
                  </a:lnTo>
                  <a:lnTo>
                    <a:pt x="6" y="208"/>
                  </a:lnTo>
                  <a:lnTo>
                    <a:pt x="3" y="213"/>
                  </a:lnTo>
                  <a:lnTo>
                    <a:pt x="2" y="216"/>
                  </a:lnTo>
                  <a:lnTo>
                    <a:pt x="0" y="219"/>
                  </a:lnTo>
                  <a:lnTo>
                    <a:pt x="0" y="224"/>
                  </a:lnTo>
                  <a:lnTo>
                    <a:pt x="0" y="229"/>
                  </a:lnTo>
                  <a:lnTo>
                    <a:pt x="2" y="234"/>
                  </a:lnTo>
                  <a:lnTo>
                    <a:pt x="6" y="237"/>
                  </a:lnTo>
                  <a:lnTo>
                    <a:pt x="13" y="238"/>
                  </a:lnTo>
                  <a:lnTo>
                    <a:pt x="23" y="237"/>
                  </a:lnTo>
                  <a:lnTo>
                    <a:pt x="37" y="235"/>
                  </a:lnTo>
                  <a:lnTo>
                    <a:pt x="53" y="231"/>
                  </a:lnTo>
                  <a:lnTo>
                    <a:pt x="68" y="228"/>
                  </a:lnTo>
                  <a:lnTo>
                    <a:pt x="82" y="225"/>
                  </a:lnTo>
                  <a:lnTo>
                    <a:pt x="94" y="222"/>
                  </a:lnTo>
                  <a:lnTo>
                    <a:pt x="102" y="220"/>
                  </a:lnTo>
                  <a:lnTo>
                    <a:pt x="104" y="219"/>
                  </a:lnTo>
                  <a:lnTo>
                    <a:pt x="239" y="121"/>
                  </a:lnTo>
                  <a:lnTo>
                    <a:pt x="239" y="121"/>
                  </a:lnTo>
                  <a:lnTo>
                    <a:pt x="282" y="89"/>
                  </a:lnTo>
                  <a:lnTo>
                    <a:pt x="291" y="80"/>
                  </a:lnTo>
                  <a:lnTo>
                    <a:pt x="295" y="68"/>
                  </a:lnTo>
                  <a:lnTo>
                    <a:pt x="294" y="56"/>
                  </a:lnTo>
                  <a:lnTo>
                    <a:pt x="289" y="45"/>
                  </a:lnTo>
                  <a:close/>
                  <a:moveTo>
                    <a:pt x="37" y="218"/>
                  </a:moveTo>
                  <a:lnTo>
                    <a:pt x="34" y="211"/>
                  </a:lnTo>
                  <a:lnTo>
                    <a:pt x="29" y="206"/>
                  </a:lnTo>
                  <a:lnTo>
                    <a:pt x="25" y="202"/>
                  </a:lnTo>
                  <a:lnTo>
                    <a:pt x="29" y="195"/>
                  </a:lnTo>
                  <a:lnTo>
                    <a:pt x="33" y="187"/>
                  </a:lnTo>
                  <a:lnTo>
                    <a:pt x="37" y="179"/>
                  </a:lnTo>
                  <a:lnTo>
                    <a:pt x="41" y="172"/>
                  </a:lnTo>
                  <a:lnTo>
                    <a:pt x="43" y="168"/>
                  </a:lnTo>
                  <a:lnTo>
                    <a:pt x="44" y="166"/>
                  </a:lnTo>
                  <a:lnTo>
                    <a:pt x="77" y="210"/>
                  </a:lnTo>
                  <a:lnTo>
                    <a:pt x="74" y="210"/>
                  </a:lnTo>
                  <a:lnTo>
                    <a:pt x="68" y="212"/>
                  </a:lnTo>
                  <a:lnTo>
                    <a:pt x="59" y="214"/>
                  </a:lnTo>
                  <a:lnTo>
                    <a:pt x="48" y="216"/>
                  </a:lnTo>
                  <a:lnTo>
                    <a:pt x="37" y="218"/>
                  </a:lnTo>
                  <a:close/>
                  <a:moveTo>
                    <a:pt x="88" y="140"/>
                  </a:moveTo>
                  <a:lnTo>
                    <a:pt x="86" y="140"/>
                  </a:lnTo>
                  <a:lnTo>
                    <a:pt x="84" y="139"/>
                  </a:lnTo>
                  <a:lnTo>
                    <a:pt x="83" y="137"/>
                  </a:lnTo>
                  <a:lnTo>
                    <a:pt x="82" y="135"/>
                  </a:lnTo>
                  <a:lnTo>
                    <a:pt x="82" y="133"/>
                  </a:lnTo>
                  <a:lnTo>
                    <a:pt x="83" y="131"/>
                  </a:lnTo>
                  <a:lnTo>
                    <a:pt x="84" y="129"/>
                  </a:lnTo>
                  <a:lnTo>
                    <a:pt x="180" y="59"/>
                  </a:lnTo>
                  <a:lnTo>
                    <a:pt x="182" y="57"/>
                  </a:lnTo>
                  <a:lnTo>
                    <a:pt x="184" y="57"/>
                  </a:lnTo>
                  <a:lnTo>
                    <a:pt x="186" y="58"/>
                  </a:lnTo>
                  <a:lnTo>
                    <a:pt x="188" y="60"/>
                  </a:lnTo>
                  <a:lnTo>
                    <a:pt x="189" y="62"/>
                  </a:lnTo>
                  <a:lnTo>
                    <a:pt x="189" y="64"/>
                  </a:lnTo>
                  <a:lnTo>
                    <a:pt x="188" y="66"/>
                  </a:lnTo>
                  <a:lnTo>
                    <a:pt x="187" y="68"/>
                  </a:lnTo>
                  <a:lnTo>
                    <a:pt x="92" y="139"/>
                  </a:lnTo>
                  <a:lnTo>
                    <a:pt x="90" y="140"/>
                  </a:lnTo>
                  <a:lnTo>
                    <a:pt x="88" y="140"/>
                  </a:lnTo>
                  <a:close/>
                  <a:moveTo>
                    <a:pt x="104" y="162"/>
                  </a:moveTo>
                  <a:lnTo>
                    <a:pt x="102" y="161"/>
                  </a:lnTo>
                  <a:lnTo>
                    <a:pt x="101" y="161"/>
                  </a:lnTo>
                  <a:lnTo>
                    <a:pt x="99" y="159"/>
                  </a:lnTo>
                  <a:lnTo>
                    <a:pt x="98" y="157"/>
                  </a:lnTo>
                  <a:lnTo>
                    <a:pt x="98" y="155"/>
                  </a:lnTo>
                  <a:lnTo>
                    <a:pt x="99" y="152"/>
                  </a:lnTo>
                  <a:lnTo>
                    <a:pt x="100" y="151"/>
                  </a:lnTo>
                  <a:lnTo>
                    <a:pt x="196" y="80"/>
                  </a:lnTo>
                  <a:lnTo>
                    <a:pt x="199" y="79"/>
                  </a:lnTo>
                  <a:lnTo>
                    <a:pt x="201" y="79"/>
                  </a:lnTo>
                  <a:lnTo>
                    <a:pt x="203" y="80"/>
                  </a:lnTo>
                  <a:lnTo>
                    <a:pt x="205" y="82"/>
                  </a:lnTo>
                  <a:lnTo>
                    <a:pt x="206" y="84"/>
                  </a:lnTo>
                  <a:lnTo>
                    <a:pt x="206" y="86"/>
                  </a:lnTo>
                  <a:lnTo>
                    <a:pt x="206" y="88"/>
                  </a:lnTo>
                  <a:lnTo>
                    <a:pt x="204" y="90"/>
                  </a:lnTo>
                  <a:lnTo>
                    <a:pt x="108" y="160"/>
                  </a:lnTo>
                  <a:lnTo>
                    <a:pt x="106" y="161"/>
                  </a:lnTo>
                  <a:lnTo>
                    <a:pt x="104" y="162"/>
                  </a:lnTo>
                  <a:close/>
                  <a:moveTo>
                    <a:pt x="220" y="112"/>
                  </a:moveTo>
                  <a:lnTo>
                    <a:pt x="124" y="182"/>
                  </a:lnTo>
                  <a:lnTo>
                    <a:pt x="122" y="183"/>
                  </a:lnTo>
                  <a:lnTo>
                    <a:pt x="120" y="183"/>
                  </a:lnTo>
                  <a:lnTo>
                    <a:pt x="118" y="183"/>
                  </a:lnTo>
                  <a:lnTo>
                    <a:pt x="117" y="182"/>
                  </a:lnTo>
                  <a:lnTo>
                    <a:pt x="115" y="181"/>
                  </a:lnTo>
                  <a:lnTo>
                    <a:pt x="114" y="179"/>
                  </a:lnTo>
                  <a:lnTo>
                    <a:pt x="114" y="176"/>
                  </a:lnTo>
                  <a:lnTo>
                    <a:pt x="115" y="174"/>
                  </a:lnTo>
                  <a:lnTo>
                    <a:pt x="117" y="172"/>
                  </a:lnTo>
                  <a:lnTo>
                    <a:pt x="213" y="102"/>
                  </a:lnTo>
                  <a:lnTo>
                    <a:pt x="215" y="101"/>
                  </a:lnTo>
                  <a:lnTo>
                    <a:pt x="217" y="101"/>
                  </a:lnTo>
                  <a:lnTo>
                    <a:pt x="220" y="102"/>
                  </a:lnTo>
                  <a:lnTo>
                    <a:pt x="221" y="103"/>
                  </a:lnTo>
                  <a:lnTo>
                    <a:pt x="222" y="106"/>
                  </a:lnTo>
                  <a:lnTo>
                    <a:pt x="222" y="108"/>
                  </a:lnTo>
                  <a:lnTo>
                    <a:pt x="222" y="110"/>
                  </a:lnTo>
                  <a:lnTo>
                    <a:pt x="220" y="112"/>
                  </a:lnTo>
                  <a:close/>
                  <a:moveTo>
                    <a:pt x="271" y="74"/>
                  </a:moveTo>
                  <a:lnTo>
                    <a:pt x="253" y="88"/>
                  </a:lnTo>
                  <a:lnTo>
                    <a:pt x="213" y="34"/>
                  </a:lnTo>
                  <a:lnTo>
                    <a:pt x="232" y="20"/>
                  </a:lnTo>
                  <a:lnTo>
                    <a:pt x="235" y="19"/>
                  </a:lnTo>
                  <a:lnTo>
                    <a:pt x="237" y="18"/>
                  </a:lnTo>
                  <a:lnTo>
                    <a:pt x="239" y="18"/>
                  </a:lnTo>
                  <a:lnTo>
                    <a:pt x="243" y="18"/>
                  </a:lnTo>
                  <a:lnTo>
                    <a:pt x="247" y="20"/>
                  </a:lnTo>
                  <a:lnTo>
                    <a:pt x="250" y="23"/>
                  </a:lnTo>
                  <a:lnTo>
                    <a:pt x="274" y="56"/>
                  </a:lnTo>
                  <a:lnTo>
                    <a:pt x="277" y="62"/>
                  </a:lnTo>
                  <a:lnTo>
                    <a:pt x="276" y="69"/>
                  </a:lnTo>
                  <a:lnTo>
                    <a:pt x="271" y="7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4" name="Freeform 1963">
              <a:extLst>
                <a:ext uri="{FF2B5EF4-FFF2-40B4-BE49-F238E27FC236}">
                  <a16:creationId xmlns:a16="http://schemas.microsoft.com/office/drawing/2014/main" id="{E90C0236-FE1C-4837-82E0-E2F372DEE877}"/>
                </a:ext>
              </a:extLst>
            </p:cNvPr>
            <p:cNvSpPr>
              <a:spLocks/>
            </p:cNvSpPr>
            <p:nvPr/>
          </p:nvSpPr>
          <p:spPr bwMode="auto">
            <a:xfrm>
              <a:off x="3632201" y="5503863"/>
              <a:ext cx="180975" cy="39688"/>
            </a:xfrm>
            <a:custGeom>
              <a:avLst/>
              <a:gdLst>
                <a:gd name="T0" fmla="*/ 101 w 114"/>
                <a:gd name="T1" fmla="*/ 25 h 25"/>
                <a:gd name="T2" fmla="*/ 13 w 114"/>
                <a:gd name="T3" fmla="*/ 25 h 25"/>
                <a:gd name="T4" fmla="*/ 9 w 114"/>
                <a:gd name="T5" fmla="*/ 24 h 25"/>
                <a:gd name="T6" fmla="*/ 5 w 114"/>
                <a:gd name="T7" fmla="*/ 22 h 25"/>
                <a:gd name="T8" fmla="*/ 3 w 114"/>
                <a:gd name="T9" fmla="*/ 20 h 25"/>
                <a:gd name="T10" fmla="*/ 1 w 114"/>
                <a:gd name="T11" fmla="*/ 16 h 25"/>
                <a:gd name="T12" fmla="*/ 0 w 114"/>
                <a:gd name="T13" fmla="*/ 12 h 25"/>
                <a:gd name="T14" fmla="*/ 1 w 114"/>
                <a:gd name="T15" fmla="*/ 8 h 25"/>
                <a:gd name="T16" fmla="*/ 3 w 114"/>
                <a:gd name="T17" fmla="*/ 5 h 25"/>
                <a:gd name="T18" fmla="*/ 5 w 114"/>
                <a:gd name="T19" fmla="*/ 2 h 25"/>
                <a:gd name="T20" fmla="*/ 9 w 114"/>
                <a:gd name="T21" fmla="*/ 0 h 25"/>
                <a:gd name="T22" fmla="*/ 13 w 114"/>
                <a:gd name="T23" fmla="*/ 0 h 25"/>
                <a:gd name="T24" fmla="*/ 101 w 114"/>
                <a:gd name="T25" fmla="*/ 0 h 25"/>
                <a:gd name="T26" fmla="*/ 105 w 114"/>
                <a:gd name="T27" fmla="*/ 0 h 25"/>
                <a:gd name="T28" fmla="*/ 109 w 114"/>
                <a:gd name="T29" fmla="*/ 2 h 25"/>
                <a:gd name="T30" fmla="*/ 111 w 114"/>
                <a:gd name="T31" fmla="*/ 5 h 25"/>
                <a:gd name="T32" fmla="*/ 113 w 114"/>
                <a:gd name="T33" fmla="*/ 8 h 25"/>
                <a:gd name="T34" fmla="*/ 114 w 114"/>
                <a:gd name="T35" fmla="*/ 12 h 25"/>
                <a:gd name="T36" fmla="*/ 113 w 114"/>
                <a:gd name="T37" fmla="*/ 16 h 25"/>
                <a:gd name="T38" fmla="*/ 111 w 114"/>
                <a:gd name="T39" fmla="*/ 20 h 25"/>
                <a:gd name="T40" fmla="*/ 109 w 114"/>
                <a:gd name="T41" fmla="*/ 22 h 25"/>
                <a:gd name="T42" fmla="*/ 105 w 114"/>
                <a:gd name="T43" fmla="*/ 24 h 25"/>
                <a:gd name="T44" fmla="*/ 101 w 114"/>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25">
                  <a:moveTo>
                    <a:pt x="101" y="25"/>
                  </a:moveTo>
                  <a:lnTo>
                    <a:pt x="13" y="25"/>
                  </a:lnTo>
                  <a:lnTo>
                    <a:pt x="9" y="24"/>
                  </a:lnTo>
                  <a:lnTo>
                    <a:pt x="5" y="22"/>
                  </a:lnTo>
                  <a:lnTo>
                    <a:pt x="3" y="20"/>
                  </a:lnTo>
                  <a:lnTo>
                    <a:pt x="1" y="16"/>
                  </a:lnTo>
                  <a:lnTo>
                    <a:pt x="0" y="12"/>
                  </a:lnTo>
                  <a:lnTo>
                    <a:pt x="1" y="8"/>
                  </a:lnTo>
                  <a:lnTo>
                    <a:pt x="3" y="5"/>
                  </a:lnTo>
                  <a:lnTo>
                    <a:pt x="5" y="2"/>
                  </a:lnTo>
                  <a:lnTo>
                    <a:pt x="9" y="0"/>
                  </a:lnTo>
                  <a:lnTo>
                    <a:pt x="13" y="0"/>
                  </a:lnTo>
                  <a:lnTo>
                    <a:pt x="101" y="0"/>
                  </a:lnTo>
                  <a:lnTo>
                    <a:pt x="105" y="0"/>
                  </a:lnTo>
                  <a:lnTo>
                    <a:pt x="109" y="2"/>
                  </a:lnTo>
                  <a:lnTo>
                    <a:pt x="111" y="5"/>
                  </a:lnTo>
                  <a:lnTo>
                    <a:pt x="113" y="8"/>
                  </a:lnTo>
                  <a:lnTo>
                    <a:pt x="114" y="12"/>
                  </a:lnTo>
                  <a:lnTo>
                    <a:pt x="113" y="16"/>
                  </a:lnTo>
                  <a:lnTo>
                    <a:pt x="111" y="20"/>
                  </a:lnTo>
                  <a:lnTo>
                    <a:pt x="109" y="22"/>
                  </a:lnTo>
                  <a:lnTo>
                    <a:pt x="105" y="24"/>
                  </a:lnTo>
                  <a:lnTo>
                    <a:pt x="101"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5" name="Freeform 1964">
              <a:extLst>
                <a:ext uri="{FF2B5EF4-FFF2-40B4-BE49-F238E27FC236}">
                  <a16:creationId xmlns:a16="http://schemas.microsoft.com/office/drawing/2014/main" id="{4D8D7C37-4EF8-42A5-B848-5DFCBF046828}"/>
                </a:ext>
              </a:extLst>
            </p:cNvPr>
            <p:cNvSpPr>
              <a:spLocks/>
            </p:cNvSpPr>
            <p:nvPr/>
          </p:nvSpPr>
          <p:spPr bwMode="auto">
            <a:xfrm>
              <a:off x="3632201" y="5576888"/>
              <a:ext cx="303213" cy="39688"/>
            </a:xfrm>
            <a:custGeom>
              <a:avLst/>
              <a:gdLst>
                <a:gd name="T0" fmla="*/ 179 w 191"/>
                <a:gd name="T1" fmla="*/ 25 h 25"/>
                <a:gd name="T2" fmla="*/ 13 w 191"/>
                <a:gd name="T3" fmla="*/ 25 h 25"/>
                <a:gd name="T4" fmla="*/ 9 w 191"/>
                <a:gd name="T5" fmla="*/ 24 h 25"/>
                <a:gd name="T6" fmla="*/ 5 w 191"/>
                <a:gd name="T7" fmla="*/ 22 h 25"/>
                <a:gd name="T8" fmla="*/ 3 w 191"/>
                <a:gd name="T9" fmla="*/ 20 h 25"/>
                <a:gd name="T10" fmla="*/ 1 w 191"/>
                <a:gd name="T11" fmla="*/ 16 h 25"/>
                <a:gd name="T12" fmla="*/ 0 w 191"/>
                <a:gd name="T13" fmla="*/ 12 h 25"/>
                <a:gd name="T14" fmla="*/ 1 w 191"/>
                <a:gd name="T15" fmla="*/ 8 h 25"/>
                <a:gd name="T16" fmla="*/ 3 w 191"/>
                <a:gd name="T17" fmla="*/ 5 h 25"/>
                <a:gd name="T18" fmla="*/ 5 w 191"/>
                <a:gd name="T19" fmla="*/ 2 h 25"/>
                <a:gd name="T20" fmla="*/ 9 w 191"/>
                <a:gd name="T21" fmla="*/ 1 h 25"/>
                <a:gd name="T22" fmla="*/ 13 w 191"/>
                <a:gd name="T23" fmla="*/ 0 h 25"/>
                <a:gd name="T24" fmla="*/ 179 w 191"/>
                <a:gd name="T25" fmla="*/ 0 h 25"/>
                <a:gd name="T26" fmla="*/ 182 w 191"/>
                <a:gd name="T27" fmla="*/ 1 h 25"/>
                <a:gd name="T28" fmla="*/ 186 w 191"/>
                <a:gd name="T29" fmla="*/ 2 h 25"/>
                <a:gd name="T30" fmla="*/ 189 w 191"/>
                <a:gd name="T31" fmla="*/ 5 h 25"/>
                <a:gd name="T32" fmla="*/ 190 w 191"/>
                <a:gd name="T33" fmla="*/ 8 h 25"/>
                <a:gd name="T34" fmla="*/ 191 w 191"/>
                <a:gd name="T35" fmla="*/ 12 h 25"/>
                <a:gd name="T36" fmla="*/ 190 w 191"/>
                <a:gd name="T37" fmla="*/ 16 h 25"/>
                <a:gd name="T38" fmla="*/ 189 w 191"/>
                <a:gd name="T39" fmla="*/ 20 h 25"/>
                <a:gd name="T40" fmla="*/ 186 w 191"/>
                <a:gd name="T41" fmla="*/ 22 h 25"/>
                <a:gd name="T42" fmla="*/ 182 w 191"/>
                <a:gd name="T43" fmla="*/ 24 h 25"/>
                <a:gd name="T44" fmla="*/ 179 w 191"/>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25">
                  <a:moveTo>
                    <a:pt x="179" y="25"/>
                  </a:moveTo>
                  <a:lnTo>
                    <a:pt x="13" y="25"/>
                  </a:lnTo>
                  <a:lnTo>
                    <a:pt x="9" y="24"/>
                  </a:lnTo>
                  <a:lnTo>
                    <a:pt x="5" y="22"/>
                  </a:lnTo>
                  <a:lnTo>
                    <a:pt x="3" y="20"/>
                  </a:lnTo>
                  <a:lnTo>
                    <a:pt x="1" y="16"/>
                  </a:lnTo>
                  <a:lnTo>
                    <a:pt x="0" y="12"/>
                  </a:lnTo>
                  <a:lnTo>
                    <a:pt x="1" y="8"/>
                  </a:lnTo>
                  <a:lnTo>
                    <a:pt x="3" y="5"/>
                  </a:lnTo>
                  <a:lnTo>
                    <a:pt x="5" y="2"/>
                  </a:lnTo>
                  <a:lnTo>
                    <a:pt x="9" y="1"/>
                  </a:lnTo>
                  <a:lnTo>
                    <a:pt x="13" y="0"/>
                  </a:lnTo>
                  <a:lnTo>
                    <a:pt x="179" y="0"/>
                  </a:lnTo>
                  <a:lnTo>
                    <a:pt x="182" y="1"/>
                  </a:lnTo>
                  <a:lnTo>
                    <a:pt x="186" y="2"/>
                  </a:lnTo>
                  <a:lnTo>
                    <a:pt x="189" y="5"/>
                  </a:lnTo>
                  <a:lnTo>
                    <a:pt x="190" y="8"/>
                  </a:lnTo>
                  <a:lnTo>
                    <a:pt x="191" y="12"/>
                  </a:lnTo>
                  <a:lnTo>
                    <a:pt x="190" y="16"/>
                  </a:lnTo>
                  <a:lnTo>
                    <a:pt x="189" y="20"/>
                  </a:lnTo>
                  <a:lnTo>
                    <a:pt x="186" y="22"/>
                  </a:lnTo>
                  <a:lnTo>
                    <a:pt x="182" y="24"/>
                  </a:lnTo>
                  <a:lnTo>
                    <a:pt x="179"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6" name="Freeform 1965">
              <a:extLst>
                <a:ext uri="{FF2B5EF4-FFF2-40B4-BE49-F238E27FC236}">
                  <a16:creationId xmlns:a16="http://schemas.microsoft.com/office/drawing/2014/main" id="{3419DA4A-4B31-48E9-BC52-9E0E66D5131C}"/>
                </a:ext>
              </a:extLst>
            </p:cNvPr>
            <p:cNvSpPr>
              <a:spLocks/>
            </p:cNvSpPr>
            <p:nvPr/>
          </p:nvSpPr>
          <p:spPr bwMode="auto">
            <a:xfrm>
              <a:off x="3632201" y="5729288"/>
              <a:ext cx="180975" cy="39688"/>
            </a:xfrm>
            <a:custGeom>
              <a:avLst/>
              <a:gdLst>
                <a:gd name="T0" fmla="*/ 101 w 114"/>
                <a:gd name="T1" fmla="*/ 25 h 25"/>
                <a:gd name="T2" fmla="*/ 13 w 114"/>
                <a:gd name="T3" fmla="*/ 25 h 25"/>
                <a:gd name="T4" fmla="*/ 9 w 114"/>
                <a:gd name="T5" fmla="*/ 24 h 25"/>
                <a:gd name="T6" fmla="*/ 5 w 114"/>
                <a:gd name="T7" fmla="*/ 22 h 25"/>
                <a:gd name="T8" fmla="*/ 3 w 114"/>
                <a:gd name="T9" fmla="*/ 19 h 25"/>
                <a:gd name="T10" fmla="*/ 1 w 114"/>
                <a:gd name="T11" fmla="*/ 16 h 25"/>
                <a:gd name="T12" fmla="*/ 0 w 114"/>
                <a:gd name="T13" fmla="*/ 12 h 25"/>
                <a:gd name="T14" fmla="*/ 1 w 114"/>
                <a:gd name="T15" fmla="*/ 8 h 25"/>
                <a:gd name="T16" fmla="*/ 3 w 114"/>
                <a:gd name="T17" fmla="*/ 5 h 25"/>
                <a:gd name="T18" fmla="*/ 5 w 114"/>
                <a:gd name="T19" fmla="*/ 2 h 25"/>
                <a:gd name="T20" fmla="*/ 9 w 114"/>
                <a:gd name="T21" fmla="*/ 0 h 25"/>
                <a:gd name="T22" fmla="*/ 13 w 114"/>
                <a:gd name="T23" fmla="*/ 0 h 25"/>
                <a:gd name="T24" fmla="*/ 101 w 114"/>
                <a:gd name="T25" fmla="*/ 0 h 25"/>
                <a:gd name="T26" fmla="*/ 105 w 114"/>
                <a:gd name="T27" fmla="*/ 0 h 25"/>
                <a:gd name="T28" fmla="*/ 109 w 114"/>
                <a:gd name="T29" fmla="*/ 2 h 25"/>
                <a:gd name="T30" fmla="*/ 111 w 114"/>
                <a:gd name="T31" fmla="*/ 5 h 25"/>
                <a:gd name="T32" fmla="*/ 113 w 114"/>
                <a:gd name="T33" fmla="*/ 8 h 25"/>
                <a:gd name="T34" fmla="*/ 114 w 114"/>
                <a:gd name="T35" fmla="*/ 12 h 25"/>
                <a:gd name="T36" fmla="*/ 113 w 114"/>
                <a:gd name="T37" fmla="*/ 16 h 25"/>
                <a:gd name="T38" fmla="*/ 111 w 114"/>
                <a:gd name="T39" fmla="*/ 19 h 25"/>
                <a:gd name="T40" fmla="*/ 109 w 114"/>
                <a:gd name="T41" fmla="*/ 22 h 25"/>
                <a:gd name="T42" fmla="*/ 105 w 114"/>
                <a:gd name="T43" fmla="*/ 24 h 25"/>
                <a:gd name="T44" fmla="*/ 101 w 114"/>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25">
                  <a:moveTo>
                    <a:pt x="101" y="25"/>
                  </a:moveTo>
                  <a:lnTo>
                    <a:pt x="13" y="25"/>
                  </a:lnTo>
                  <a:lnTo>
                    <a:pt x="9" y="24"/>
                  </a:lnTo>
                  <a:lnTo>
                    <a:pt x="5" y="22"/>
                  </a:lnTo>
                  <a:lnTo>
                    <a:pt x="3" y="19"/>
                  </a:lnTo>
                  <a:lnTo>
                    <a:pt x="1" y="16"/>
                  </a:lnTo>
                  <a:lnTo>
                    <a:pt x="0" y="12"/>
                  </a:lnTo>
                  <a:lnTo>
                    <a:pt x="1" y="8"/>
                  </a:lnTo>
                  <a:lnTo>
                    <a:pt x="3" y="5"/>
                  </a:lnTo>
                  <a:lnTo>
                    <a:pt x="5" y="2"/>
                  </a:lnTo>
                  <a:lnTo>
                    <a:pt x="9" y="0"/>
                  </a:lnTo>
                  <a:lnTo>
                    <a:pt x="13" y="0"/>
                  </a:lnTo>
                  <a:lnTo>
                    <a:pt x="101" y="0"/>
                  </a:lnTo>
                  <a:lnTo>
                    <a:pt x="105" y="0"/>
                  </a:lnTo>
                  <a:lnTo>
                    <a:pt x="109" y="2"/>
                  </a:lnTo>
                  <a:lnTo>
                    <a:pt x="111" y="5"/>
                  </a:lnTo>
                  <a:lnTo>
                    <a:pt x="113" y="8"/>
                  </a:lnTo>
                  <a:lnTo>
                    <a:pt x="114" y="12"/>
                  </a:lnTo>
                  <a:lnTo>
                    <a:pt x="113" y="16"/>
                  </a:lnTo>
                  <a:lnTo>
                    <a:pt x="111" y="19"/>
                  </a:lnTo>
                  <a:lnTo>
                    <a:pt x="109" y="22"/>
                  </a:lnTo>
                  <a:lnTo>
                    <a:pt x="105" y="24"/>
                  </a:lnTo>
                  <a:lnTo>
                    <a:pt x="101"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7" name="Freeform 1966">
              <a:extLst>
                <a:ext uri="{FF2B5EF4-FFF2-40B4-BE49-F238E27FC236}">
                  <a16:creationId xmlns:a16="http://schemas.microsoft.com/office/drawing/2014/main" id="{9ABBF52F-61BC-4EE1-9FFA-2E78E05C7A3E}"/>
                </a:ext>
              </a:extLst>
            </p:cNvPr>
            <p:cNvSpPr>
              <a:spLocks/>
            </p:cNvSpPr>
            <p:nvPr/>
          </p:nvSpPr>
          <p:spPr bwMode="auto">
            <a:xfrm>
              <a:off x="3632201" y="5802313"/>
              <a:ext cx="298450" cy="39688"/>
            </a:xfrm>
            <a:custGeom>
              <a:avLst/>
              <a:gdLst>
                <a:gd name="T0" fmla="*/ 175 w 188"/>
                <a:gd name="T1" fmla="*/ 25 h 25"/>
                <a:gd name="T2" fmla="*/ 13 w 188"/>
                <a:gd name="T3" fmla="*/ 25 h 25"/>
                <a:gd name="T4" fmla="*/ 9 w 188"/>
                <a:gd name="T5" fmla="*/ 24 h 25"/>
                <a:gd name="T6" fmla="*/ 5 w 188"/>
                <a:gd name="T7" fmla="*/ 22 h 25"/>
                <a:gd name="T8" fmla="*/ 3 w 188"/>
                <a:gd name="T9" fmla="*/ 20 h 25"/>
                <a:gd name="T10" fmla="*/ 1 w 188"/>
                <a:gd name="T11" fmla="*/ 16 h 25"/>
                <a:gd name="T12" fmla="*/ 0 w 188"/>
                <a:gd name="T13" fmla="*/ 12 h 25"/>
                <a:gd name="T14" fmla="*/ 1 w 188"/>
                <a:gd name="T15" fmla="*/ 8 h 25"/>
                <a:gd name="T16" fmla="*/ 3 w 188"/>
                <a:gd name="T17" fmla="*/ 5 h 25"/>
                <a:gd name="T18" fmla="*/ 5 w 188"/>
                <a:gd name="T19" fmla="*/ 2 h 25"/>
                <a:gd name="T20" fmla="*/ 9 w 188"/>
                <a:gd name="T21" fmla="*/ 0 h 25"/>
                <a:gd name="T22" fmla="*/ 13 w 188"/>
                <a:gd name="T23" fmla="*/ 0 h 25"/>
                <a:gd name="T24" fmla="*/ 175 w 188"/>
                <a:gd name="T25" fmla="*/ 0 h 25"/>
                <a:gd name="T26" fmla="*/ 179 w 188"/>
                <a:gd name="T27" fmla="*/ 0 h 25"/>
                <a:gd name="T28" fmla="*/ 183 w 188"/>
                <a:gd name="T29" fmla="*/ 2 h 25"/>
                <a:gd name="T30" fmla="*/ 185 w 188"/>
                <a:gd name="T31" fmla="*/ 5 h 25"/>
                <a:gd name="T32" fmla="*/ 187 w 188"/>
                <a:gd name="T33" fmla="*/ 8 h 25"/>
                <a:gd name="T34" fmla="*/ 188 w 188"/>
                <a:gd name="T35" fmla="*/ 12 h 25"/>
                <a:gd name="T36" fmla="*/ 187 w 188"/>
                <a:gd name="T37" fmla="*/ 16 h 25"/>
                <a:gd name="T38" fmla="*/ 185 w 188"/>
                <a:gd name="T39" fmla="*/ 20 h 25"/>
                <a:gd name="T40" fmla="*/ 183 w 188"/>
                <a:gd name="T41" fmla="*/ 22 h 25"/>
                <a:gd name="T42" fmla="*/ 179 w 188"/>
                <a:gd name="T43" fmla="*/ 24 h 25"/>
                <a:gd name="T44" fmla="*/ 175 w 188"/>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8" h="25">
                  <a:moveTo>
                    <a:pt x="175" y="25"/>
                  </a:moveTo>
                  <a:lnTo>
                    <a:pt x="13" y="25"/>
                  </a:lnTo>
                  <a:lnTo>
                    <a:pt x="9" y="24"/>
                  </a:lnTo>
                  <a:lnTo>
                    <a:pt x="5" y="22"/>
                  </a:lnTo>
                  <a:lnTo>
                    <a:pt x="3" y="20"/>
                  </a:lnTo>
                  <a:lnTo>
                    <a:pt x="1" y="16"/>
                  </a:lnTo>
                  <a:lnTo>
                    <a:pt x="0" y="12"/>
                  </a:lnTo>
                  <a:lnTo>
                    <a:pt x="1" y="8"/>
                  </a:lnTo>
                  <a:lnTo>
                    <a:pt x="3" y="5"/>
                  </a:lnTo>
                  <a:lnTo>
                    <a:pt x="5" y="2"/>
                  </a:lnTo>
                  <a:lnTo>
                    <a:pt x="9" y="0"/>
                  </a:lnTo>
                  <a:lnTo>
                    <a:pt x="13" y="0"/>
                  </a:lnTo>
                  <a:lnTo>
                    <a:pt x="175" y="0"/>
                  </a:lnTo>
                  <a:lnTo>
                    <a:pt x="179" y="0"/>
                  </a:lnTo>
                  <a:lnTo>
                    <a:pt x="183" y="2"/>
                  </a:lnTo>
                  <a:lnTo>
                    <a:pt x="185" y="5"/>
                  </a:lnTo>
                  <a:lnTo>
                    <a:pt x="187" y="8"/>
                  </a:lnTo>
                  <a:lnTo>
                    <a:pt x="188" y="12"/>
                  </a:lnTo>
                  <a:lnTo>
                    <a:pt x="187" y="16"/>
                  </a:lnTo>
                  <a:lnTo>
                    <a:pt x="185" y="20"/>
                  </a:lnTo>
                  <a:lnTo>
                    <a:pt x="183" y="22"/>
                  </a:lnTo>
                  <a:lnTo>
                    <a:pt x="179" y="24"/>
                  </a:lnTo>
                  <a:lnTo>
                    <a:pt x="17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grpSp>
      <p:pic>
        <p:nvPicPr>
          <p:cNvPr id="38" name="Picture 37">
            <a:extLst>
              <a:ext uri="{FF2B5EF4-FFF2-40B4-BE49-F238E27FC236}">
                <a16:creationId xmlns:a16="http://schemas.microsoft.com/office/drawing/2014/main" id="{C8A5773A-F091-45EC-B52F-4C064A38775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1521" y="1073595"/>
            <a:ext cx="3524245" cy="681823"/>
          </a:xfrm>
          <a:prstGeom prst="rect">
            <a:avLst/>
          </a:prstGeom>
        </p:spPr>
      </p:pic>
      <p:sp>
        <p:nvSpPr>
          <p:cNvPr id="39" name="TextBox 38">
            <a:extLst>
              <a:ext uri="{FF2B5EF4-FFF2-40B4-BE49-F238E27FC236}">
                <a16:creationId xmlns:a16="http://schemas.microsoft.com/office/drawing/2014/main" id="{F8252CBF-8796-4E79-A5CD-E654FFC74729}"/>
              </a:ext>
            </a:extLst>
          </p:cNvPr>
          <p:cNvSpPr txBox="1"/>
          <p:nvPr/>
        </p:nvSpPr>
        <p:spPr>
          <a:xfrm>
            <a:off x="1685544" y="1106941"/>
            <a:ext cx="1605995" cy="3600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Description</a:t>
            </a:r>
            <a:endParaRPr lang="en-US" sz="1800">
              <a:solidFill>
                <a:srgbClr val="717074"/>
              </a:solidFill>
            </a:endParaRPr>
          </a:p>
        </p:txBody>
      </p:sp>
      <p:pic>
        <p:nvPicPr>
          <p:cNvPr id="47" name="Picture 46">
            <a:extLst>
              <a:ext uri="{FF2B5EF4-FFF2-40B4-BE49-F238E27FC236}">
                <a16:creationId xmlns:a16="http://schemas.microsoft.com/office/drawing/2014/main" id="{ED52F3BC-37C9-4E4B-8F67-44C2A735708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6675" y="2372986"/>
            <a:ext cx="3459091" cy="502371"/>
          </a:xfrm>
          <a:prstGeom prst="rect">
            <a:avLst/>
          </a:prstGeom>
        </p:spPr>
      </p:pic>
      <p:sp>
        <p:nvSpPr>
          <p:cNvPr id="49" name="TextBox 48">
            <a:extLst>
              <a:ext uri="{FF2B5EF4-FFF2-40B4-BE49-F238E27FC236}">
                <a16:creationId xmlns:a16="http://schemas.microsoft.com/office/drawing/2014/main" id="{11EED3F2-4C11-48B6-8F1F-03EBA6B44D2A}"/>
              </a:ext>
            </a:extLst>
          </p:cNvPr>
          <p:cNvSpPr txBox="1"/>
          <p:nvPr/>
        </p:nvSpPr>
        <p:spPr>
          <a:xfrm>
            <a:off x="1068868" y="2457296"/>
            <a:ext cx="1605995" cy="304800"/>
          </a:xfrm>
          <a:prstGeom prst="rect">
            <a:avLst/>
          </a:prstGeom>
          <a:noFill/>
        </p:spPr>
        <p:txBody>
          <a:bodyPr wrap="none" lIns="0" tIns="0" rIns="0" bIns="0" rtlCol="0" anchor="ctr">
            <a:noAutofit/>
          </a:bodyPr>
          <a:lstStyle>
            <a:defPPr>
              <a:defRPr lang="en-US"/>
            </a:defPPr>
            <a:lvl1pPr lvl="0" indent="92075" eaLnBrk="0" fontAlgn="base" hangingPunct="0">
              <a:spcBef>
                <a:spcPts val="400"/>
              </a:spcBef>
              <a:spcAft>
                <a:spcPts val="900"/>
              </a:spcAft>
              <a:defRPr sz="1200" b="1">
                <a:solidFill>
                  <a:prstClr val="white"/>
                </a:solidFill>
                <a:ea typeface="Verdana" panose="020B0604030504040204" pitchFamily="34" charset="0"/>
                <a:cs typeface="Verdana" panose="020B0604030504040204" pitchFamily="34" charset="0"/>
              </a:defRPr>
            </a:lvl1pPr>
          </a:lstStyle>
          <a:p>
            <a:pPr defTabSz="914400"/>
            <a:r>
              <a:rPr lang="en-AU" altLang="en-US"/>
              <a:t>Audience</a:t>
            </a:r>
            <a:endParaRPr lang="en-US"/>
          </a:p>
        </p:txBody>
      </p:sp>
      <p:pic>
        <p:nvPicPr>
          <p:cNvPr id="50" name="Picture 49">
            <a:extLst>
              <a:ext uri="{FF2B5EF4-FFF2-40B4-BE49-F238E27FC236}">
                <a16:creationId xmlns:a16="http://schemas.microsoft.com/office/drawing/2014/main" id="{6E014DCD-5027-40BE-9472-E3814C21CC1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6675" y="3254723"/>
            <a:ext cx="3459091" cy="502371"/>
          </a:xfrm>
          <a:prstGeom prst="rect">
            <a:avLst/>
          </a:prstGeom>
        </p:spPr>
      </p:pic>
      <p:sp>
        <p:nvSpPr>
          <p:cNvPr id="60" name="TextBox 59">
            <a:extLst>
              <a:ext uri="{FF2B5EF4-FFF2-40B4-BE49-F238E27FC236}">
                <a16:creationId xmlns:a16="http://schemas.microsoft.com/office/drawing/2014/main" id="{4851E232-9A08-418A-B4CC-176E17A6570C}"/>
              </a:ext>
            </a:extLst>
          </p:cNvPr>
          <p:cNvSpPr txBox="1"/>
          <p:nvPr/>
        </p:nvSpPr>
        <p:spPr>
          <a:xfrm>
            <a:off x="1027019" y="3349462"/>
            <a:ext cx="1605995" cy="3048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Prerequisites</a:t>
            </a:r>
          </a:p>
        </p:txBody>
      </p:sp>
      <p:pic>
        <p:nvPicPr>
          <p:cNvPr id="70" name="Picture 69">
            <a:extLst>
              <a:ext uri="{FF2B5EF4-FFF2-40B4-BE49-F238E27FC236}">
                <a16:creationId xmlns:a16="http://schemas.microsoft.com/office/drawing/2014/main" id="{AF56B7E6-43E1-4250-B66D-D347CDCD011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2540" y="4163015"/>
            <a:ext cx="3459091" cy="502371"/>
          </a:xfrm>
          <a:prstGeom prst="rect">
            <a:avLst/>
          </a:prstGeom>
        </p:spPr>
      </p:pic>
      <p:sp>
        <p:nvSpPr>
          <p:cNvPr id="71" name="TextBox 70">
            <a:extLst>
              <a:ext uri="{FF2B5EF4-FFF2-40B4-BE49-F238E27FC236}">
                <a16:creationId xmlns:a16="http://schemas.microsoft.com/office/drawing/2014/main" id="{162FFDF4-28D7-4DB8-A796-D646E5B6FE41}"/>
              </a:ext>
            </a:extLst>
          </p:cNvPr>
          <p:cNvSpPr txBox="1"/>
          <p:nvPr/>
        </p:nvSpPr>
        <p:spPr>
          <a:xfrm>
            <a:off x="1001936" y="4217642"/>
            <a:ext cx="1605995" cy="3600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Overview</a:t>
            </a:r>
          </a:p>
        </p:txBody>
      </p:sp>
      <p:sp>
        <p:nvSpPr>
          <p:cNvPr id="75" name="Rectangle 74">
            <a:extLst>
              <a:ext uri="{FF2B5EF4-FFF2-40B4-BE49-F238E27FC236}">
                <a16:creationId xmlns:a16="http://schemas.microsoft.com/office/drawing/2014/main" id="{7549D3A6-61C2-4EC2-A2EE-A17119E59DB6}"/>
              </a:ext>
            </a:extLst>
          </p:cNvPr>
          <p:cNvSpPr/>
          <p:nvPr/>
        </p:nvSpPr>
        <p:spPr>
          <a:xfrm>
            <a:off x="334347" y="4665386"/>
            <a:ext cx="3500247" cy="1954381"/>
          </a:xfrm>
          <a:prstGeom prst="rect">
            <a:avLst/>
          </a:prstGeom>
        </p:spPr>
        <p:txBody>
          <a:bodyPr wrap="square" anchor="t">
            <a:spAutoFit/>
          </a:bodyPr>
          <a:lstStyle/>
          <a:p>
            <a:pPr defTabSz="914400"/>
            <a:r>
              <a:rPr lang="de-DE" sz="1100" b="1"/>
              <a:t>Context</a:t>
            </a:r>
          </a:p>
          <a:p>
            <a:pPr defTabSz="914400"/>
            <a:endParaRPr lang="en-US" sz="1100">
              <a:ea typeface="ＭＳ Ｐゴシック" pitchFamily="34" charset="-128"/>
            </a:endParaRPr>
          </a:p>
          <a:p>
            <a:pPr defTabSz="914400"/>
            <a:r>
              <a:rPr lang="en-US" sz="1100">
                <a:ea typeface="ＭＳ Ｐゴシック"/>
              </a:rPr>
              <a:t>Major case is created by Operations when there are multiple cases from different customers reporting the same issue while major incident is created by Operations when there is serious service disruption.</a:t>
            </a:r>
            <a:endParaRPr lang="en-US" sz="1100">
              <a:ea typeface="ＭＳ Ｐゴシック"/>
              <a:cs typeface="Arial"/>
            </a:endParaRPr>
          </a:p>
          <a:p>
            <a:pPr defTabSz="914400"/>
            <a:endParaRPr lang="en-US" sz="1100">
              <a:ea typeface="ＭＳ Ｐゴシック" pitchFamily="34" charset="-128"/>
              <a:cs typeface="Arial"/>
            </a:endParaRPr>
          </a:p>
          <a:p>
            <a:pPr defTabSz="914400"/>
            <a:r>
              <a:rPr lang="en-US" sz="1100">
                <a:ea typeface="ＭＳ Ｐゴシック"/>
                <a:cs typeface="Arial"/>
              </a:rPr>
              <a:t>The parent-child incident relationship is used when multiple (child) incidents have the same root cause in order to accelerate the incident progression by avoiding duplicate work on individual single records.</a:t>
            </a:r>
            <a:endParaRPr lang="en-US" sz="1100">
              <a:ea typeface="ＭＳ Ｐゴシック" pitchFamily="34" charset="-128"/>
              <a:cs typeface="Arial"/>
            </a:endParaRPr>
          </a:p>
        </p:txBody>
      </p:sp>
      <p:grpSp>
        <p:nvGrpSpPr>
          <p:cNvPr id="83" name="Group 82">
            <a:extLst>
              <a:ext uri="{FF2B5EF4-FFF2-40B4-BE49-F238E27FC236}">
                <a16:creationId xmlns:a16="http://schemas.microsoft.com/office/drawing/2014/main" id="{055F843A-E40F-42FD-AAE4-9FF10C8BA25E}"/>
              </a:ext>
            </a:extLst>
          </p:cNvPr>
          <p:cNvGrpSpPr/>
          <p:nvPr/>
        </p:nvGrpSpPr>
        <p:grpSpPr>
          <a:xfrm>
            <a:off x="4266232" y="1040912"/>
            <a:ext cx="3530229" cy="555279"/>
            <a:chOff x="3150020" y="633645"/>
            <a:chExt cx="3032760" cy="555279"/>
          </a:xfrm>
        </p:grpSpPr>
        <p:sp>
          <p:nvSpPr>
            <p:cNvPr id="84" name="Rectangle 83">
              <a:extLst>
                <a:ext uri="{FF2B5EF4-FFF2-40B4-BE49-F238E27FC236}">
                  <a16:creationId xmlns:a16="http://schemas.microsoft.com/office/drawing/2014/main" id="{A6620758-1DE2-4EE5-BB9F-C0F6C1790E6E}"/>
                </a:ext>
              </a:extLst>
            </p:cNvPr>
            <p:cNvSpPr/>
            <p:nvPr/>
          </p:nvSpPr>
          <p:spPr bwMode="gray">
            <a:xfrm>
              <a:off x="3150020" y="633645"/>
              <a:ext cx="3032760" cy="45719"/>
            </a:xfrm>
            <a:prstGeom prst="rect">
              <a:avLst/>
            </a:prstGeom>
            <a:solidFill>
              <a:srgbClr val="FBB24B"/>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85" name="Rectangle 84">
              <a:extLst>
                <a:ext uri="{FF2B5EF4-FFF2-40B4-BE49-F238E27FC236}">
                  <a16:creationId xmlns:a16="http://schemas.microsoft.com/office/drawing/2014/main" id="{4B14670A-17F5-43F2-9C32-2629582A43F0}"/>
                </a:ext>
              </a:extLst>
            </p:cNvPr>
            <p:cNvSpPr/>
            <p:nvPr/>
          </p:nvSpPr>
          <p:spPr bwMode="gray">
            <a:xfrm flipV="1">
              <a:off x="3150020" y="679364"/>
              <a:ext cx="3032760" cy="457200"/>
            </a:xfrm>
            <a:prstGeom prst="rect">
              <a:avLst/>
            </a:prstGeom>
            <a:solidFill>
              <a:srgbClr val="0095D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86" name="TextBox 85">
              <a:extLst>
                <a:ext uri="{FF2B5EF4-FFF2-40B4-BE49-F238E27FC236}">
                  <a16:creationId xmlns:a16="http://schemas.microsoft.com/office/drawing/2014/main" id="{5A878B44-0C9A-43D2-84F3-8B894F6DD98E}"/>
                </a:ext>
              </a:extLst>
            </p:cNvPr>
            <p:cNvSpPr txBox="1"/>
            <p:nvPr/>
          </p:nvSpPr>
          <p:spPr>
            <a:xfrm>
              <a:off x="4014614" y="715635"/>
              <a:ext cx="1371600" cy="360000"/>
            </a:xfrm>
            <a:prstGeom prst="rect">
              <a:avLst/>
            </a:prstGeom>
            <a:noFill/>
          </p:spPr>
          <p:txBody>
            <a:bodyPr wrap="none" lIns="0" tIns="0" rIns="0" bIns="0" rtlCol="0" anchor="ctr">
              <a:noAutofit/>
            </a:bodyPr>
            <a:lstStyle/>
            <a:p>
              <a:pPr lvl="0" indent="92075"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Explanation &amp; Related Terms</a:t>
              </a:r>
            </a:p>
          </p:txBody>
        </p:sp>
        <p:sp>
          <p:nvSpPr>
            <p:cNvPr id="87" name="Isosceles Triangle 86">
              <a:extLst>
                <a:ext uri="{FF2B5EF4-FFF2-40B4-BE49-F238E27FC236}">
                  <a16:creationId xmlns:a16="http://schemas.microsoft.com/office/drawing/2014/main" id="{A07BD9D9-F4B5-4771-8519-1F26B6EE2CEF}"/>
                </a:ext>
              </a:extLst>
            </p:cNvPr>
            <p:cNvSpPr/>
            <p:nvPr/>
          </p:nvSpPr>
          <p:spPr>
            <a:xfrm flipV="1">
              <a:off x="5785619" y="984544"/>
              <a:ext cx="396938" cy="204380"/>
            </a:xfrm>
            <a:prstGeom prst="triangle">
              <a:avLst/>
            </a:prstGeom>
            <a:solidFill>
              <a:srgbClr val="0095D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99" name="Illustration" descr="Example of an illustration" title="Illustration for title slide">
            <a:extLst>
              <a:ext uri="{FF2B5EF4-FFF2-40B4-BE49-F238E27FC236}">
                <a16:creationId xmlns:a16="http://schemas.microsoft.com/office/drawing/2014/main" id="{8F1690E4-F0A3-432F-A8C5-ADFF9F911587}"/>
              </a:ext>
            </a:extLst>
          </p:cNvPr>
          <p:cNvPicPr>
            <a:picLocks noChangeAspect="1"/>
          </p:cNvPicPr>
          <p:nvPr/>
        </p:nvPicPr>
        <p:blipFill rotWithShape="1">
          <a:blip r:embed="rId10"/>
          <a:srcRect l="70221" t="59532" r="26482" b="26655"/>
          <a:stretch/>
        </p:blipFill>
        <p:spPr bwMode="gray">
          <a:xfrm>
            <a:off x="1238797" y="1025071"/>
            <a:ext cx="413965" cy="449277"/>
          </a:xfrm>
          <a:prstGeom prst="rect">
            <a:avLst/>
          </a:prstGeom>
          <a:noFill/>
        </p:spPr>
      </p:pic>
      <p:pic>
        <p:nvPicPr>
          <p:cNvPr id="100" name="Picture 99">
            <a:extLst>
              <a:ext uri="{FF2B5EF4-FFF2-40B4-BE49-F238E27FC236}">
                <a16:creationId xmlns:a16="http://schemas.microsoft.com/office/drawing/2014/main" id="{60765153-FD05-41F0-AEC1-D721534E38E4}"/>
              </a:ext>
            </a:extLst>
          </p:cNvPr>
          <p:cNvPicPr>
            <a:picLocks noChangeAspect="1"/>
          </p:cNvPicPr>
          <p:nvPr/>
        </p:nvPicPr>
        <p:blipFill>
          <a:blip r:embed="rId11"/>
          <a:stretch>
            <a:fillRect/>
          </a:stretch>
        </p:blipFill>
        <p:spPr>
          <a:xfrm>
            <a:off x="4245847" y="756444"/>
            <a:ext cx="1104390" cy="1104390"/>
          </a:xfrm>
          <a:prstGeom prst="rect">
            <a:avLst/>
          </a:prstGeom>
        </p:spPr>
      </p:pic>
      <p:pic>
        <p:nvPicPr>
          <p:cNvPr id="105" name="Picture 76">
            <a:extLst>
              <a:ext uri="{FF2B5EF4-FFF2-40B4-BE49-F238E27FC236}">
                <a16:creationId xmlns:a16="http://schemas.microsoft.com/office/drawing/2014/main" id="{17CAE407-ED69-42F8-A569-6816A5847D7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391457" y="3146375"/>
            <a:ext cx="675418" cy="675418"/>
          </a:xfrm>
          <a:prstGeom prst="rect">
            <a:avLst/>
          </a:prstGeom>
        </p:spPr>
      </p:pic>
      <p:pic>
        <p:nvPicPr>
          <p:cNvPr id="106" name="Picture 105">
            <a:extLst>
              <a:ext uri="{FF2B5EF4-FFF2-40B4-BE49-F238E27FC236}">
                <a16:creationId xmlns:a16="http://schemas.microsoft.com/office/drawing/2014/main" id="{16D3741E-9674-4F69-B92E-84206CF0A9DE}"/>
              </a:ext>
            </a:extLst>
          </p:cNvPr>
          <p:cNvPicPr>
            <a:picLocks noChangeAspect="1"/>
          </p:cNvPicPr>
          <p:nvPr/>
        </p:nvPicPr>
        <p:blipFill>
          <a:blip r:embed="rId13"/>
          <a:stretch>
            <a:fillRect/>
          </a:stretch>
        </p:blipFill>
        <p:spPr>
          <a:xfrm>
            <a:off x="369657" y="4094766"/>
            <a:ext cx="666403" cy="636330"/>
          </a:xfrm>
          <a:prstGeom prst="rect">
            <a:avLst/>
          </a:prstGeom>
        </p:spPr>
      </p:pic>
      <p:grpSp>
        <p:nvGrpSpPr>
          <p:cNvPr id="107" name="Group 5">
            <a:extLst>
              <a:ext uri="{FF2B5EF4-FFF2-40B4-BE49-F238E27FC236}">
                <a16:creationId xmlns:a16="http://schemas.microsoft.com/office/drawing/2014/main" id="{F7B1E092-42EE-4B98-BE93-5060B09B0E56}"/>
              </a:ext>
            </a:extLst>
          </p:cNvPr>
          <p:cNvGrpSpPr>
            <a:grpSpLocks noChangeAspect="1"/>
          </p:cNvGrpSpPr>
          <p:nvPr/>
        </p:nvGrpSpPr>
        <p:grpSpPr bwMode="auto">
          <a:xfrm>
            <a:off x="453198" y="2444823"/>
            <a:ext cx="423854" cy="356441"/>
            <a:chOff x="471" y="958"/>
            <a:chExt cx="269" cy="265"/>
          </a:xfrm>
          <a:solidFill>
            <a:schemeClr val="accent1"/>
          </a:solidFill>
        </p:grpSpPr>
        <p:sp>
          <p:nvSpPr>
            <p:cNvPr id="108" name="Freeform 6">
              <a:extLst>
                <a:ext uri="{FF2B5EF4-FFF2-40B4-BE49-F238E27FC236}">
                  <a16:creationId xmlns:a16="http://schemas.microsoft.com/office/drawing/2014/main" id="{54B29DB9-39DA-4152-A637-8F597DD26ED0}"/>
                </a:ext>
              </a:extLst>
            </p:cNvPr>
            <p:cNvSpPr>
              <a:spLocks noEditPoints="1"/>
            </p:cNvSpPr>
            <p:nvPr/>
          </p:nvSpPr>
          <p:spPr bwMode="auto">
            <a:xfrm>
              <a:off x="471" y="1096"/>
              <a:ext cx="269" cy="127"/>
            </a:xfrm>
            <a:custGeom>
              <a:avLst/>
              <a:gdLst>
                <a:gd name="T0" fmla="*/ 793 w 1586"/>
                <a:gd name="T1" fmla="*/ 55 h 746"/>
                <a:gd name="T2" fmla="*/ 975 w 1586"/>
                <a:gd name="T3" fmla="*/ 245 h 746"/>
                <a:gd name="T4" fmla="*/ 1095 w 1586"/>
                <a:gd name="T5" fmla="*/ 0 h 746"/>
                <a:gd name="T6" fmla="*/ 1333 w 1586"/>
                <a:gd name="T7" fmla="*/ 81 h 746"/>
                <a:gd name="T8" fmla="*/ 1458 w 1586"/>
                <a:gd name="T9" fmla="*/ 155 h 746"/>
                <a:gd name="T10" fmla="*/ 1519 w 1586"/>
                <a:gd name="T11" fmla="*/ 234 h 746"/>
                <a:gd name="T12" fmla="*/ 1568 w 1586"/>
                <a:gd name="T13" fmla="*/ 508 h 746"/>
                <a:gd name="T14" fmla="*/ 1586 w 1586"/>
                <a:gd name="T15" fmla="*/ 746 h 746"/>
                <a:gd name="T16" fmla="*/ 1302 w 1586"/>
                <a:gd name="T17" fmla="*/ 746 h 746"/>
                <a:gd name="T18" fmla="*/ 1299 w 1586"/>
                <a:gd name="T19" fmla="*/ 592 h 746"/>
                <a:gd name="T20" fmla="*/ 1201 w 1586"/>
                <a:gd name="T21" fmla="*/ 592 h 746"/>
                <a:gd name="T22" fmla="*/ 1201 w 1586"/>
                <a:gd name="T23" fmla="*/ 746 h 746"/>
                <a:gd name="T24" fmla="*/ 385 w 1586"/>
                <a:gd name="T25" fmla="*/ 746 h 746"/>
                <a:gd name="T26" fmla="*/ 385 w 1586"/>
                <a:gd name="T27" fmla="*/ 592 h 746"/>
                <a:gd name="T28" fmla="*/ 287 w 1586"/>
                <a:gd name="T29" fmla="*/ 592 h 746"/>
                <a:gd name="T30" fmla="*/ 285 w 1586"/>
                <a:gd name="T31" fmla="*/ 746 h 746"/>
                <a:gd name="T32" fmla="*/ 0 w 1586"/>
                <a:gd name="T33" fmla="*/ 746 h 746"/>
                <a:gd name="T34" fmla="*/ 18 w 1586"/>
                <a:gd name="T35" fmla="*/ 508 h 746"/>
                <a:gd name="T36" fmla="*/ 67 w 1586"/>
                <a:gd name="T37" fmla="*/ 234 h 746"/>
                <a:gd name="T38" fmla="*/ 128 w 1586"/>
                <a:gd name="T39" fmla="*/ 155 h 746"/>
                <a:gd name="T40" fmla="*/ 253 w 1586"/>
                <a:gd name="T41" fmla="*/ 81 h 746"/>
                <a:gd name="T42" fmla="*/ 491 w 1586"/>
                <a:gd name="T43" fmla="*/ 0 h 746"/>
                <a:gd name="T44" fmla="*/ 612 w 1586"/>
                <a:gd name="T45" fmla="*/ 245 h 746"/>
                <a:gd name="T46" fmla="*/ 793 w 1586"/>
                <a:gd name="T47" fmla="*/ 55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86" h="746">
                  <a:moveTo>
                    <a:pt x="793" y="55"/>
                  </a:moveTo>
                  <a:cubicBezTo>
                    <a:pt x="854" y="118"/>
                    <a:pt x="914" y="182"/>
                    <a:pt x="975" y="245"/>
                  </a:cubicBezTo>
                  <a:cubicBezTo>
                    <a:pt x="1015" y="163"/>
                    <a:pt x="1055" y="82"/>
                    <a:pt x="1095" y="0"/>
                  </a:cubicBezTo>
                  <a:cubicBezTo>
                    <a:pt x="1183" y="27"/>
                    <a:pt x="1271" y="55"/>
                    <a:pt x="1333" y="81"/>
                  </a:cubicBezTo>
                  <a:cubicBezTo>
                    <a:pt x="1395" y="106"/>
                    <a:pt x="1431" y="131"/>
                    <a:pt x="1458" y="155"/>
                  </a:cubicBezTo>
                  <a:cubicBezTo>
                    <a:pt x="1485" y="179"/>
                    <a:pt x="1503" y="202"/>
                    <a:pt x="1519" y="234"/>
                  </a:cubicBezTo>
                  <a:cubicBezTo>
                    <a:pt x="1536" y="265"/>
                    <a:pt x="1550" y="305"/>
                    <a:pt x="1568" y="508"/>
                  </a:cubicBezTo>
                  <a:cubicBezTo>
                    <a:pt x="1574" y="573"/>
                    <a:pt x="1580" y="654"/>
                    <a:pt x="1586" y="746"/>
                  </a:cubicBezTo>
                  <a:moveTo>
                    <a:pt x="1302" y="746"/>
                  </a:moveTo>
                  <a:cubicBezTo>
                    <a:pt x="1301" y="695"/>
                    <a:pt x="1300" y="643"/>
                    <a:pt x="1299" y="592"/>
                  </a:cubicBezTo>
                  <a:cubicBezTo>
                    <a:pt x="1266" y="559"/>
                    <a:pt x="1233" y="561"/>
                    <a:pt x="1201" y="592"/>
                  </a:cubicBezTo>
                  <a:cubicBezTo>
                    <a:pt x="1201" y="643"/>
                    <a:pt x="1201" y="694"/>
                    <a:pt x="1201" y="746"/>
                  </a:cubicBezTo>
                  <a:moveTo>
                    <a:pt x="385" y="746"/>
                  </a:moveTo>
                  <a:cubicBezTo>
                    <a:pt x="385" y="694"/>
                    <a:pt x="385" y="643"/>
                    <a:pt x="385" y="592"/>
                  </a:cubicBezTo>
                  <a:cubicBezTo>
                    <a:pt x="352" y="561"/>
                    <a:pt x="320" y="557"/>
                    <a:pt x="287" y="592"/>
                  </a:cubicBezTo>
                  <a:cubicBezTo>
                    <a:pt x="286" y="643"/>
                    <a:pt x="286" y="695"/>
                    <a:pt x="285" y="746"/>
                  </a:cubicBezTo>
                  <a:moveTo>
                    <a:pt x="0" y="746"/>
                  </a:moveTo>
                  <a:cubicBezTo>
                    <a:pt x="6" y="654"/>
                    <a:pt x="12" y="573"/>
                    <a:pt x="18" y="508"/>
                  </a:cubicBezTo>
                  <a:cubicBezTo>
                    <a:pt x="36" y="305"/>
                    <a:pt x="50" y="265"/>
                    <a:pt x="67" y="234"/>
                  </a:cubicBezTo>
                  <a:cubicBezTo>
                    <a:pt x="83" y="202"/>
                    <a:pt x="101" y="179"/>
                    <a:pt x="128" y="155"/>
                  </a:cubicBezTo>
                  <a:cubicBezTo>
                    <a:pt x="155" y="131"/>
                    <a:pt x="191" y="106"/>
                    <a:pt x="253" y="81"/>
                  </a:cubicBezTo>
                  <a:cubicBezTo>
                    <a:pt x="315" y="55"/>
                    <a:pt x="403" y="27"/>
                    <a:pt x="491" y="0"/>
                  </a:cubicBezTo>
                  <a:cubicBezTo>
                    <a:pt x="531" y="82"/>
                    <a:pt x="571" y="163"/>
                    <a:pt x="612" y="245"/>
                  </a:cubicBezTo>
                  <a:cubicBezTo>
                    <a:pt x="672" y="182"/>
                    <a:pt x="733" y="118"/>
                    <a:pt x="793" y="55"/>
                  </a:cubicBezTo>
                </a:path>
              </a:pathLst>
            </a:custGeom>
            <a:grpFill/>
            <a:ln w="12700"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sp>
          <p:nvSpPr>
            <p:cNvPr id="109" name="Oval 7">
              <a:extLst>
                <a:ext uri="{FF2B5EF4-FFF2-40B4-BE49-F238E27FC236}">
                  <a16:creationId xmlns:a16="http://schemas.microsoft.com/office/drawing/2014/main" id="{50078655-C2F9-4ACE-A5E3-4C4DCD242528}"/>
                </a:ext>
              </a:extLst>
            </p:cNvPr>
            <p:cNvSpPr>
              <a:spLocks noChangeArrowheads="1"/>
            </p:cNvSpPr>
            <p:nvPr/>
          </p:nvSpPr>
          <p:spPr bwMode="auto">
            <a:xfrm>
              <a:off x="542" y="958"/>
              <a:ext cx="126" cy="126"/>
            </a:xfrm>
            <a:prstGeom prst="ellips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sp>
          <p:nvSpPr>
            <p:cNvPr id="110" name="Freeform 8">
              <a:extLst>
                <a:ext uri="{FF2B5EF4-FFF2-40B4-BE49-F238E27FC236}">
                  <a16:creationId xmlns:a16="http://schemas.microsoft.com/office/drawing/2014/main" id="{0EC97590-4640-42E8-9A2A-13F26EDEEA0C}"/>
                </a:ext>
              </a:extLst>
            </p:cNvPr>
            <p:cNvSpPr>
              <a:spLocks/>
            </p:cNvSpPr>
            <p:nvPr/>
          </p:nvSpPr>
          <p:spPr bwMode="auto">
            <a:xfrm>
              <a:off x="582" y="1131"/>
              <a:ext cx="46" cy="46"/>
            </a:xfrm>
            <a:custGeom>
              <a:avLst/>
              <a:gdLst>
                <a:gd name="T0" fmla="*/ 0 w 273"/>
                <a:gd name="T1" fmla="*/ 137 h 273"/>
                <a:gd name="T2" fmla="*/ 137 w 273"/>
                <a:gd name="T3" fmla="*/ 0 h 273"/>
                <a:gd name="T4" fmla="*/ 273 w 273"/>
                <a:gd name="T5" fmla="*/ 137 h 273"/>
                <a:gd name="T6" fmla="*/ 137 w 273"/>
                <a:gd name="T7" fmla="*/ 273 h 273"/>
                <a:gd name="T8" fmla="*/ 0 w 273"/>
                <a:gd name="T9" fmla="*/ 137 h 273"/>
              </a:gdLst>
              <a:ahLst/>
              <a:cxnLst>
                <a:cxn ang="0">
                  <a:pos x="T0" y="T1"/>
                </a:cxn>
                <a:cxn ang="0">
                  <a:pos x="T2" y="T3"/>
                </a:cxn>
                <a:cxn ang="0">
                  <a:pos x="T4" y="T5"/>
                </a:cxn>
                <a:cxn ang="0">
                  <a:pos x="T6" y="T7"/>
                </a:cxn>
                <a:cxn ang="0">
                  <a:pos x="T8" y="T9"/>
                </a:cxn>
              </a:cxnLst>
              <a:rect l="0" t="0" r="r" b="b"/>
              <a:pathLst>
                <a:path w="273" h="273">
                  <a:moveTo>
                    <a:pt x="0" y="137"/>
                  </a:moveTo>
                  <a:lnTo>
                    <a:pt x="137" y="0"/>
                  </a:lnTo>
                  <a:lnTo>
                    <a:pt x="273" y="137"/>
                  </a:lnTo>
                  <a:lnTo>
                    <a:pt x="137" y="273"/>
                  </a:lnTo>
                  <a:lnTo>
                    <a:pt x="0" y="137"/>
                  </a:lnTo>
                  <a:close/>
                </a:path>
              </a:pathLst>
            </a:custGeom>
            <a:grpFill/>
            <a:ln w="12700"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sp>
          <p:nvSpPr>
            <p:cNvPr id="111" name="Freeform 9">
              <a:extLst>
                <a:ext uri="{FF2B5EF4-FFF2-40B4-BE49-F238E27FC236}">
                  <a16:creationId xmlns:a16="http://schemas.microsoft.com/office/drawing/2014/main" id="{388AC070-6A91-4240-AF33-A4953009903F}"/>
                </a:ext>
              </a:extLst>
            </p:cNvPr>
            <p:cNvSpPr>
              <a:spLocks/>
            </p:cNvSpPr>
            <p:nvPr/>
          </p:nvSpPr>
          <p:spPr bwMode="auto">
            <a:xfrm>
              <a:off x="586" y="1169"/>
              <a:ext cx="38" cy="54"/>
            </a:xfrm>
            <a:custGeom>
              <a:avLst/>
              <a:gdLst>
                <a:gd name="T0" fmla="*/ 224 w 224"/>
                <a:gd name="T1" fmla="*/ 319 h 319"/>
                <a:gd name="T2" fmla="*/ 162 w 224"/>
                <a:gd name="T3" fmla="*/ 0 h 319"/>
                <a:gd name="T4" fmla="*/ 113 w 224"/>
                <a:gd name="T5" fmla="*/ 49 h 319"/>
                <a:gd name="T6" fmla="*/ 65 w 224"/>
                <a:gd name="T7" fmla="*/ 1 h 319"/>
                <a:gd name="T8" fmla="*/ 0 w 224"/>
                <a:gd name="T9" fmla="*/ 319 h 319"/>
              </a:gdLst>
              <a:ahLst/>
              <a:cxnLst>
                <a:cxn ang="0">
                  <a:pos x="T0" y="T1"/>
                </a:cxn>
                <a:cxn ang="0">
                  <a:pos x="T2" y="T3"/>
                </a:cxn>
                <a:cxn ang="0">
                  <a:pos x="T4" y="T5"/>
                </a:cxn>
                <a:cxn ang="0">
                  <a:pos x="T6" y="T7"/>
                </a:cxn>
                <a:cxn ang="0">
                  <a:pos x="T8" y="T9"/>
                </a:cxn>
              </a:cxnLst>
              <a:rect l="0" t="0" r="r" b="b"/>
              <a:pathLst>
                <a:path w="224" h="319">
                  <a:moveTo>
                    <a:pt x="224" y="319"/>
                  </a:moveTo>
                  <a:lnTo>
                    <a:pt x="162" y="0"/>
                  </a:lnTo>
                  <a:lnTo>
                    <a:pt x="113" y="49"/>
                  </a:lnTo>
                  <a:lnTo>
                    <a:pt x="65" y="1"/>
                  </a:lnTo>
                  <a:lnTo>
                    <a:pt x="0" y="319"/>
                  </a:lnTo>
                </a:path>
              </a:pathLst>
            </a:custGeom>
            <a:grpFill/>
            <a:ln w="12700"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grpSp>
      <p:grpSp>
        <p:nvGrpSpPr>
          <p:cNvPr id="52" name="Group 51">
            <a:extLst>
              <a:ext uri="{FF2B5EF4-FFF2-40B4-BE49-F238E27FC236}">
                <a16:creationId xmlns:a16="http://schemas.microsoft.com/office/drawing/2014/main" id="{2B4BF474-A607-44F4-9071-23F9BFCF17F4}"/>
              </a:ext>
            </a:extLst>
          </p:cNvPr>
          <p:cNvGrpSpPr/>
          <p:nvPr/>
        </p:nvGrpSpPr>
        <p:grpSpPr>
          <a:xfrm>
            <a:off x="8118199" y="1040912"/>
            <a:ext cx="3530229" cy="555279"/>
            <a:chOff x="3150020" y="633645"/>
            <a:chExt cx="3032760" cy="555279"/>
          </a:xfrm>
        </p:grpSpPr>
        <p:sp>
          <p:nvSpPr>
            <p:cNvPr id="53" name="Rectangle 52">
              <a:extLst>
                <a:ext uri="{FF2B5EF4-FFF2-40B4-BE49-F238E27FC236}">
                  <a16:creationId xmlns:a16="http://schemas.microsoft.com/office/drawing/2014/main" id="{A8050152-A235-410A-B1FD-FA1E75BB73C8}"/>
                </a:ext>
              </a:extLst>
            </p:cNvPr>
            <p:cNvSpPr/>
            <p:nvPr/>
          </p:nvSpPr>
          <p:spPr bwMode="gray">
            <a:xfrm>
              <a:off x="3150020" y="633645"/>
              <a:ext cx="3032760" cy="45719"/>
            </a:xfrm>
            <a:prstGeom prst="rect">
              <a:avLst/>
            </a:prstGeom>
            <a:solidFill>
              <a:srgbClr val="FBB24B"/>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54" name="Rectangle 53">
              <a:extLst>
                <a:ext uri="{FF2B5EF4-FFF2-40B4-BE49-F238E27FC236}">
                  <a16:creationId xmlns:a16="http://schemas.microsoft.com/office/drawing/2014/main" id="{D4DBFB74-5369-4B59-A37F-2FDD936621EA}"/>
                </a:ext>
              </a:extLst>
            </p:cNvPr>
            <p:cNvSpPr/>
            <p:nvPr/>
          </p:nvSpPr>
          <p:spPr bwMode="gray">
            <a:xfrm flipV="1">
              <a:off x="3150020" y="679364"/>
              <a:ext cx="3032760" cy="457200"/>
            </a:xfrm>
            <a:prstGeom prst="rect">
              <a:avLst/>
            </a:prstGeom>
            <a:solidFill>
              <a:srgbClr val="0095D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55" name="TextBox 54">
              <a:extLst>
                <a:ext uri="{FF2B5EF4-FFF2-40B4-BE49-F238E27FC236}">
                  <a16:creationId xmlns:a16="http://schemas.microsoft.com/office/drawing/2014/main" id="{6A8D3D16-17B4-47D9-BE6E-0A1C4F59839B}"/>
                </a:ext>
              </a:extLst>
            </p:cNvPr>
            <p:cNvSpPr txBox="1"/>
            <p:nvPr/>
          </p:nvSpPr>
          <p:spPr>
            <a:xfrm>
              <a:off x="4014614" y="715635"/>
              <a:ext cx="1371600" cy="360000"/>
            </a:xfrm>
            <a:prstGeom prst="rect">
              <a:avLst/>
            </a:prstGeom>
            <a:noFill/>
          </p:spPr>
          <p:txBody>
            <a:bodyPr wrap="none" lIns="0" tIns="0" rIns="0" bIns="0" rtlCol="0" anchor="ctr">
              <a:noAutofit/>
            </a:bodyPr>
            <a:lstStyle/>
            <a:p>
              <a:pPr lvl="0" indent="92075"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Explanatory documents</a:t>
              </a:r>
            </a:p>
          </p:txBody>
        </p:sp>
        <p:sp>
          <p:nvSpPr>
            <p:cNvPr id="56" name="Isosceles Triangle 55">
              <a:extLst>
                <a:ext uri="{FF2B5EF4-FFF2-40B4-BE49-F238E27FC236}">
                  <a16:creationId xmlns:a16="http://schemas.microsoft.com/office/drawing/2014/main" id="{BE50FCAA-0C0A-48F7-9720-67FE4F5736CA}"/>
                </a:ext>
              </a:extLst>
            </p:cNvPr>
            <p:cNvSpPr/>
            <p:nvPr/>
          </p:nvSpPr>
          <p:spPr>
            <a:xfrm flipV="1">
              <a:off x="5785619" y="984544"/>
              <a:ext cx="396938" cy="204380"/>
            </a:xfrm>
            <a:prstGeom prst="triangle">
              <a:avLst/>
            </a:prstGeom>
            <a:solidFill>
              <a:srgbClr val="0095D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57" name="Rectangle 56">
            <a:extLst>
              <a:ext uri="{FF2B5EF4-FFF2-40B4-BE49-F238E27FC236}">
                <a16:creationId xmlns:a16="http://schemas.microsoft.com/office/drawing/2014/main" id="{1F3C345B-F436-4CC0-A741-D4044F7E9D44}"/>
              </a:ext>
            </a:extLst>
          </p:cNvPr>
          <p:cNvSpPr/>
          <p:nvPr/>
        </p:nvSpPr>
        <p:spPr>
          <a:xfrm>
            <a:off x="4260456" y="1711841"/>
            <a:ext cx="3645463" cy="5001369"/>
          </a:xfrm>
          <a:prstGeom prst="rect">
            <a:avLst/>
          </a:prstGeom>
        </p:spPr>
        <p:txBody>
          <a:bodyPr wrap="square" anchor="t">
            <a:spAutoFit/>
          </a:bodyPr>
          <a:lstStyle/>
          <a:p>
            <a:pPr defTabSz="914400"/>
            <a:r>
              <a:rPr lang="en-US" sz="1100" b="1">
                <a:ea typeface="ＭＳ Ｐゴシック"/>
                <a:cs typeface="Arial"/>
              </a:rPr>
              <a:t>Definition</a:t>
            </a:r>
          </a:p>
          <a:p>
            <a:pPr defTabSz="914400"/>
            <a:endParaRPr lang="en-US" sz="1100" b="1">
              <a:ea typeface="ＭＳ Ｐゴシック"/>
              <a:cs typeface="Arial"/>
            </a:endParaRPr>
          </a:p>
          <a:p>
            <a:pPr marL="228600" indent="-228600" defTabSz="914400">
              <a:buAutoNum type="arabicPeriod"/>
            </a:pPr>
            <a:r>
              <a:rPr lang="en-US" sz="1100" b="1">
                <a:ea typeface="ＭＳ Ｐゴシック"/>
                <a:cs typeface="Arial"/>
              </a:rPr>
              <a:t>Major Case: </a:t>
            </a:r>
            <a:r>
              <a:rPr lang="en-US" sz="1100">
                <a:ea typeface="ＭＳ Ｐゴシック"/>
                <a:cs typeface="Arial"/>
              </a:rPr>
              <a:t>Major case handles issues impacting a wider customer audience and is used to proactively manage the resolution process for an issue encountered by multiple customers at the same time. It is not associated with any accounts, contacts, or customers. The customer-specific information and communication reside in the associated related cases.</a:t>
            </a:r>
          </a:p>
          <a:p>
            <a:pPr defTabSz="914400"/>
            <a:endParaRPr lang="en-US" sz="1100">
              <a:ea typeface="ＭＳ Ｐゴシック"/>
              <a:cs typeface="Arial"/>
            </a:endParaRPr>
          </a:p>
          <a:p>
            <a:pPr marL="228600" indent="-228600" defTabSz="914400">
              <a:buFont typeface="+mj-lt"/>
              <a:buAutoNum type="arabicPeriod" startAt="2"/>
            </a:pPr>
            <a:r>
              <a:rPr lang="en-US" sz="1100" b="1">
                <a:ea typeface="ＭＳ Ｐゴシック"/>
                <a:cs typeface="Arial"/>
              </a:rPr>
              <a:t>Major Incident: </a:t>
            </a:r>
            <a:r>
              <a:rPr lang="en-US" sz="1100">
                <a:ea typeface="ＭＳ Ｐゴシック"/>
                <a:cs typeface="Arial"/>
              </a:rPr>
              <a:t>Major incident is the highest category of impact for an incident and results in significant disruption to the business or a business down situation. Major incident can be a parent incident when multiple child incidents can be related.</a:t>
            </a:r>
          </a:p>
          <a:p>
            <a:pPr defTabSz="914400"/>
            <a:endParaRPr lang="en-US" sz="1100">
              <a:ea typeface="ＭＳ Ｐゴシック"/>
              <a:cs typeface="Arial"/>
            </a:endParaRPr>
          </a:p>
          <a:p>
            <a:pPr marL="228600" indent="-228600" defTabSz="914400">
              <a:buFont typeface="+mj-lt"/>
              <a:buAutoNum type="arabicPeriod" startAt="3"/>
            </a:pPr>
            <a:r>
              <a:rPr lang="en-US" sz="1100" b="1">
                <a:ea typeface="ＭＳ Ｐゴシック"/>
                <a:cs typeface="Arial"/>
              </a:rPr>
              <a:t>Child Incident: </a:t>
            </a:r>
            <a:r>
              <a:rPr lang="en-US" sz="1100">
                <a:ea typeface="ＭＳ Ｐゴシック"/>
                <a:cs typeface="Arial"/>
              </a:rPr>
              <a:t>Child incident is the incident that has a direct relation to the parent incident due to the same root cause.</a:t>
            </a:r>
          </a:p>
          <a:p>
            <a:pPr defTabSz="914400"/>
            <a:endParaRPr lang="en-US" sz="1100">
              <a:ea typeface="ＭＳ Ｐゴシック"/>
              <a:cs typeface="Arial"/>
            </a:endParaRPr>
          </a:p>
          <a:p>
            <a:pPr marL="228600" indent="-228600" defTabSz="914400">
              <a:buFont typeface="+mj-lt"/>
              <a:buAutoNum type="arabicPeriod" startAt="4"/>
            </a:pPr>
            <a:r>
              <a:rPr lang="en-US" sz="1100" b="1">
                <a:ea typeface="ＭＳ Ｐゴシック"/>
                <a:cs typeface="Arial"/>
              </a:rPr>
              <a:t>Parent Incident: </a:t>
            </a:r>
            <a:r>
              <a:rPr lang="en-US" sz="1100">
                <a:ea typeface="ＭＳ Ｐゴシック"/>
                <a:cs typeface="Arial"/>
              </a:rPr>
              <a:t>Parent incident is an aggregation of child incidents that share the same root cause. It is used to ease the record handling and management in order to accelerate the incident progression and resolution. Updates within the parent incident are subsequently passed onto the associated child incidents.</a:t>
            </a:r>
          </a:p>
        </p:txBody>
      </p:sp>
      <p:sp>
        <p:nvSpPr>
          <p:cNvPr id="78" name="Rectangle 77">
            <a:extLst>
              <a:ext uri="{FF2B5EF4-FFF2-40B4-BE49-F238E27FC236}">
                <a16:creationId xmlns:a16="http://schemas.microsoft.com/office/drawing/2014/main" id="{FBE3780C-AE35-4287-9670-9646B1852DFD}"/>
              </a:ext>
            </a:extLst>
          </p:cNvPr>
          <p:cNvSpPr/>
          <p:nvPr/>
        </p:nvSpPr>
        <p:spPr>
          <a:xfrm>
            <a:off x="8182713" y="1711591"/>
            <a:ext cx="3465455" cy="261610"/>
          </a:xfrm>
          <a:prstGeom prst="rect">
            <a:avLst/>
          </a:prstGeom>
        </p:spPr>
        <p:txBody>
          <a:bodyPr wrap="square" anchor="t">
            <a:spAutoFit/>
          </a:bodyPr>
          <a:lstStyle/>
          <a:p>
            <a:pPr defTabSz="914400"/>
            <a:r>
              <a:rPr lang="en-US" sz="1100" b="1">
                <a:ea typeface="ＭＳ Ｐゴシック"/>
              </a:rPr>
              <a:t>Major Incident &amp; Major Case Scenario Explained</a:t>
            </a:r>
            <a:endParaRPr lang="en-US"/>
          </a:p>
        </p:txBody>
      </p:sp>
      <p:sp>
        <p:nvSpPr>
          <p:cNvPr id="79" name="Rectangle 78">
            <a:extLst>
              <a:ext uri="{FF2B5EF4-FFF2-40B4-BE49-F238E27FC236}">
                <a16:creationId xmlns:a16="http://schemas.microsoft.com/office/drawing/2014/main" id="{FAEF69D4-BC2C-4CFC-9B90-E465CC6794B9}"/>
              </a:ext>
            </a:extLst>
          </p:cNvPr>
          <p:cNvSpPr/>
          <p:nvPr/>
        </p:nvSpPr>
        <p:spPr>
          <a:xfrm>
            <a:off x="8157109" y="3956313"/>
            <a:ext cx="3323404" cy="261610"/>
          </a:xfrm>
          <a:prstGeom prst="rect">
            <a:avLst/>
          </a:prstGeom>
        </p:spPr>
        <p:txBody>
          <a:bodyPr wrap="square">
            <a:spAutoFit/>
          </a:bodyPr>
          <a:lstStyle/>
          <a:p>
            <a:pPr defTabSz="914400"/>
            <a:r>
              <a:rPr lang="en-US" sz="1100" b="1">
                <a:ea typeface="ＭＳ Ｐゴシック" pitchFamily="34" charset="-128"/>
              </a:rPr>
              <a:t>Major Incident &amp; Major Case Showcase</a:t>
            </a:r>
          </a:p>
        </p:txBody>
      </p:sp>
      <p:sp>
        <p:nvSpPr>
          <p:cNvPr id="82" name="Rectangle 81">
            <a:extLst>
              <a:ext uri="{FF2B5EF4-FFF2-40B4-BE49-F238E27FC236}">
                <a16:creationId xmlns:a16="http://schemas.microsoft.com/office/drawing/2014/main" id="{F4DD9FD0-39CF-42AD-871F-7367523D2EF5}"/>
              </a:ext>
            </a:extLst>
          </p:cNvPr>
          <p:cNvSpPr/>
          <p:nvPr/>
        </p:nvSpPr>
        <p:spPr>
          <a:xfrm>
            <a:off x="8211288" y="3375088"/>
            <a:ext cx="2382837" cy="200055"/>
          </a:xfrm>
          <a:prstGeom prst="rect">
            <a:avLst/>
          </a:prstGeom>
        </p:spPr>
        <p:txBody>
          <a:bodyPr wrap="square">
            <a:spAutoFit/>
          </a:bodyPr>
          <a:lstStyle/>
          <a:p>
            <a:pPr defTabSz="914400"/>
            <a:r>
              <a:rPr lang="en-US" sz="700">
                <a:ea typeface="ＭＳ Ｐゴシック" pitchFamily="34" charset="-128"/>
              </a:rPr>
              <a:t>Click on the picture to open the video</a:t>
            </a:r>
          </a:p>
        </p:txBody>
      </p:sp>
      <p:sp>
        <p:nvSpPr>
          <p:cNvPr id="88" name="Rectangle 87">
            <a:extLst>
              <a:ext uri="{FF2B5EF4-FFF2-40B4-BE49-F238E27FC236}">
                <a16:creationId xmlns:a16="http://schemas.microsoft.com/office/drawing/2014/main" id="{4ACA78D3-6F6D-4778-80A7-AAF36C9A801F}"/>
              </a:ext>
            </a:extLst>
          </p:cNvPr>
          <p:cNvSpPr/>
          <p:nvPr/>
        </p:nvSpPr>
        <p:spPr>
          <a:xfrm>
            <a:off x="8211288" y="5645559"/>
            <a:ext cx="2382837" cy="200055"/>
          </a:xfrm>
          <a:prstGeom prst="rect">
            <a:avLst/>
          </a:prstGeom>
        </p:spPr>
        <p:txBody>
          <a:bodyPr wrap="square">
            <a:spAutoFit/>
          </a:bodyPr>
          <a:lstStyle/>
          <a:p>
            <a:pPr defTabSz="914400"/>
            <a:r>
              <a:rPr lang="en-US" sz="700">
                <a:ea typeface="ＭＳ Ｐゴシック" pitchFamily="34" charset="-128"/>
              </a:rPr>
              <a:t>Click on the picture to open the video</a:t>
            </a:r>
          </a:p>
        </p:txBody>
      </p:sp>
      <p:pic>
        <p:nvPicPr>
          <p:cNvPr id="3" name="Picture 2">
            <a:hlinkClick r:id="rId14"/>
            <a:extLst>
              <a:ext uri="{FF2B5EF4-FFF2-40B4-BE49-F238E27FC236}">
                <a16:creationId xmlns:a16="http://schemas.microsoft.com/office/drawing/2014/main" id="{BD775D49-4A33-4C9A-9F15-A4101A86ADC1}"/>
              </a:ext>
            </a:extLst>
          </p:cNvPr>
          <p:cNvPicPr>
            <a:picLocks noChangeAspect="1"/>
          </p:cNvPicPr>
          <p:nvPr/>
        </p:nvPicPr>
        <p:blipFill>
          <a:blip r:embed="rId15"/>
          <a:stretch>
            <a:fillRect/>
          </a:stretch>
        </p:blipFill>
        <p:spPr>
          <a:xfrm>
            <a:off x="8296676" y="2140961"/>
            <a:ext cx="2152583" cy="1207445"/>
          </a:xfrm>
          <a:prstGeom prst="rect">
            <a:avLst/>
          </a:prstGeom>
        </p:spPr>
      </p:pic>
      <p:pic>
        <p:nvPicPr>
          <p:cNvPr id="5" name="Picture 4">
            <a:hlinkClick r:id="rId16"/>
            <a:extLst>
              <a:ext uri="{FF2B5EF4-FFF2-40B4-BE49-F238E27FC236}">
                <a16:creationId xmlns:a16="http://schemas.microsoft.com/office/drawing/2014/main" id="{3C919780-835D-46AD-BCFB-CEA9A0A47D35}"/>
              </a:ext>
            </a:extLst>
          </p:cNvPr>
          <p:cNvPicPr>
            <a:picLocks noChangeAspect="1"/>
          </p:cNvPicPr>
          <p:nvPr/>
        </p:nvPicPr>
        <p:blipFill>
          <a:blip r:embed="rId17"/>
          <a:stretch>
            <a:fillRect/>
          </a:stretch>
        </p:blipFill>
        <p:spPr>
          <a:xfrm>
            <a:off x="8296677" y="4419601"/>
            <a:ext cx="2171150" cy="1222976"/>
          </a:xfrm>
          <a:prstGeom prst="rect">
            <a:avLst/>
          </a:prstGeom>
        </p:spPr>
      </p:pic>
      <p:pic>
        <p:nvPicPr>
          <p:cNvPr id="58" name="Picture 11">
            <a:extLst>
              <a:ext uri="{FF2B5EF4-FFF2-40B4-BE49-F238E27FC236}">
                <a16:creationId xmlns:a16="http://schemas.microsoft.com/office/drawing/2014/main" id="{06FD80CC-E31E-4703-ACC6-53147082A49D}"/>
              </a:ext>
            </a:extLst>
          </p:cNvPr>
          <p:cNvPicPr>
            <a:picLocks noChangeAspect="1"/>
          </p:cNvPicPr>
          <p:nvPr/>
        </p:nvPicPr>
        <p:blipFill>
          <a:blip r:embed="rId18">
            <a:extLst>
              <a:ext uri="{BEBA8EAE-BF5A-486C-A8C5-ECC9F3942E4B}">
                <a14:imgProps xmlns:a14="http://schemas.microsoft.com/office/drawing/2010/main">
                  <a14:imgLayer r:embed="rId19">
                    <a14:imgEffect>
                      <a14:backgroundRemoval t="8861" b="96203" l="8511" r="92553">
                        <a14:foregroundMark x1="65957" y1="64557" x2="65957" y2="64557"/>
                        <a14:foregroundMark x1="64894" y1="89873" x2="64894" y2="89873"/>
                        <a14:foregroundMark x1="62766" y1="49367" x2="62766" y2="49367"/>
                        <a14:foregroundMark x1="65957" y1="96203" x2="65957" y2="96203"/>
                        <a14:foregroundMark x1="92553" y1="35443" x2="92553" y2="35443"/>
                        <a14:foregroundMark x1="60638" y1="10127" x2="60638" y2="10127"/>
                        <a14:backgroundMark x1="31915" y1="17722" x2="31915" y2="17722"/>
                        <a14:backgroundMark x1="10638" y1="73418" x2="10638" y2="73418"/>
                        <a14:backgroundMark x1="79787" y1="65823" x2="79787" y2="65823"/>
                        <a14:backgroundMark x1="75532" y1="41772" x2="75532" y2="41772"/>
                        <a14:backgroundMark x1="88298" y1="10127" x2="88298" y2="10127"/>
                      </a14:backgroundRemoval>
                    </a14:imgEffect>
                  </a14:imgLayer>
                </a14:imgProps>
              </a:ext>
            </a:extLst>
          </a:blip>
          <a:stretch>
            <a:fillRect/>
          </a:stretch>
        </p:blipFill>
        <p:spPr>
          <a:xfrm>
            <a:off x="8346859" y="1172532"/>
            <a:ext cx="413466" cy="288518"/>
          </a:xfrm>
          <a:prstGeom prst="rect">
            <a:avLst/>
          </a:prstGeom>
        </p:spPr>
      </p:pic>
    </p:spTree>
    <p:extLst>
      <p:ext uri="{BB962C8B-B14F-4D97-AF65-F5344CB8AC3E}">
        <p14:creationId xmlns:p14="http://schemas.microsoft.com/office/powerpoint/2010/main" val="6028513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05B5FF9-9B22-4FFF-B41D-0F63D084F0F0}"/>
              </a:ext>
            </a:extLst>
          </p:cNvPr>
          <p:cNvGraphicFramePr>
            <a:graphicFrameLocks noChangeAspect="1"/>
          </p:cNvGraphicFramePr>
          <p:nvPr>
            <p:custDataLst>
              <p:tags r:id="rId2"/>
            </p:custDataLst>
            <p:extLst>
              <p:ext uri="{D42A27DB-BD31-4B8C-83A1-F6EECF244321}">
                <p14:modId xmlns:p14="http://schemas.microsoft.com/office/powerpoint/2010/main" val="846222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6" imgW="395" imgH="396" progId="TCLayout.ActiveDocument.1">
                  <p:embed/>
                </p:oleObj>
              </mc:Choice>
              <mc:Fallback>
                <p:oleObj name="think-cell Slide" r:id="rId6" imgW="395" imgH="396" progId="TCLayout.ActiveDocument.1">
                  <p:embed/>
                  <p:pic>
                    <p:nvPicPr>
                      <p:cNvPr id="4" name="Object 3" hidden="1">
                        <a:extLst>
                          <a:ext uri="{FF2B5EF4-FFF2-40B4-BE49-F238E27FC236}">
                            <a16:creationId xmlns:a16="http://schemas.microsoft.com/office/drawing/2014/main" id="{205B5FF9-9B22-4FFF-B41D-0F63D084F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53C733-5B66-41A2-AC5F-9C8B7DCDE77F}"/>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en-US" sz="2400" b="1" u="none" strike="noStrike" kern="0" cap="none" spc="0" normalizeH="0" noProof="0" err="1">
              <a:ln>
                <a:noFill/>
              </a:ln>
              <a:effectLst/>
              <a:uLnTx/>
              <a:uFillTx/>
              <a:latin typeface="Arial" panose="020B0604020202020204" pitchFamily="34" charset="0"/>
              <a:ea typeface="+mj-ea"/>
              <a:cs typeface="+mj-cs"/>
              <a:sym typeface="Arial" panose="020B0604020202020204" pitchFamily="34" charset="0"/>
            </a:endParaRPr>
          </a:p>
        </p:txBody>
      </p:sp>
      <p:sp>
        <p:nvSpPr>
          <p:cNvPr id="24" name="Title"/>
          <p:cNvSpPr>
            <a:spLocks noGrp="1"/>
          </p:cNvSpPr>
          <p:nvPr>
            <p:ph type="title"/>
          </p:nvPr>
        </p:nvSpPr>
        <p:spPr bwMode="gray">
          <a:xfrm>
            <a:off x="504001" y="504000"/>
            <a:ext cx="9720000" cy="369332"/>
          </a:xfrm>
        </p:spPr>
        <p:txBody>
          <a:bodyPr/>
          <a:lstStyle/>
          <a:p>
            <a:r>
              <a:rPr lang="en-US"/>
              <a:t>Harmonized Customer Service Management (HCSM) Terminology</a:t>
            </a:r>
          </a:p>
        </p:txBody>
      </p:sp>
      <p:sp>
        <p:nvSpPr>
          <p:cNvPr id="22" name="Rectangle 21">
            <a:extLst>
              <a:ext uri="{FF2B5EF4-FFF2-40B4-BE49-F238E27FC236}">
                <a16:creationId xmlns:a16="http://schemas.microsoft.com/office/drawing/2014/main" id="{1A15397A-139C-4968-9BFE-F6ABEB7110D5}"/>
              </a:ext>
            </a:extLst>
          </p:cNvPr>
          <p:cNvSpPr/>
          <p:nvPr/>
        </p:nvSpPr>
        <p:spPr>
          <a:xfrm>
            <a:off x="309000" y="1773530"/>
            <a:ext cx="3775609" cy="600164"/>
          </a:xfrm>
          <a:prstGeom prst="rect">
            <a:avLst/>
          </a:prstGeom>
        </p:spPr>
        <p:txBody>
          <a:bodyPr wrap="square" anchor="t">
            <a:spAutoFit/>
          </a:bodyPr>
          <a:lstStyle/>
          <a:p>
            <a:pPr defTabSz="914400"/>
            <a:r>
              <a:rPr lang="en-US" sz="1100">
                <a:solidFill>
                  <a:srgbClr val="000000"/>
                </a:solidFill>
                <a:ea typeface="ＭＳ Ｐゴシック"/>
              </a:rPr>
              <a:t>This document explains the terms </a:t>
            </a:r>
            <a:r>
              <a:rPr lang="en-US" sz="1100" b="1">
                <a:solidFill>
                  <a:srgbClr val="000000"/>
                </a:solidFill>
                <a:ea typeface="ＭＳ Ｐゴシック"/>
              </a:rPr>
              <a:t>Knowledge Base, Knowledge Base Article, SAP Notes, and Knowledge Management.</a:t>
            </a:r>
            <a:endParaRPr lang="en-US" sz="1100" b="1">
              <a:solidFill>
                <a:srgbClr val="000000"/>
              </a:solidFill>
              <a:ea typeface="ＭＳ Ｐゴシック" pitchFamily="34" charset="-128"/>
            </a:endParaRPr>
          </a:p>
        </p:txBody>
      </p:sp>
      <p:sp>
        <p:nvSpPr>
          <p:cNvPr id="23" name="Rectangle 22">
            <a:extLst>
              <a:ext uri="{FF2B5EF4-FFF2-40B4-BE49-F238E27FC236}">
                <a16:creationId xmlns:a16="http://schemas.microsoft.com/office/drawing/2014/main" id="{5BD93C33-1D0D-495A-B7BA-8F4B366EE2C2}"/>
              </a:ext>
            </a:extLst>
          </p:cNvPr>
          <p:cNvSpPr/>
          <p:nvPr/>
        </p:nvSpPr>
        <p:spPr>
          <a:xfrm>
            <a:off x="334347" y="3782140"/>
            <a:ext cx="3500247" cy="261610"/>
          </a:xfrm>
          <a:prstGeom prst="rect">
            <a:avLst/>
          </a:prstGeom>
        </p:spPr>
        <p:txBody>
          <a:bodyPr wrap="square" anchor="t">
            <a:spAutoFit/>
          </a:bodyPr>
          <a:lstStyle/>
          <a:p>
            <a:pPr defTabSz="914400"/>
            <a:r>
              <a:rPr lang="en-US" sz="1100">
                <a:solidFill>
                  <a:srgbClr val="000000"/>
                </a:solidFill>
                <a:ea typeface="ＭＳ Ｐゴシック"/>
              </a:rPr>
              <a:t>Not applicable</a:t>
            </a:r>
            <a:endParaRPr lang="en-US" sz="1100">
              <a:solidFill>
                <a:srgbClr val="000000"/>
              </a:solidFill>
              <a:ea typeface="ＭＳ Ｐゴシック" pitchFamily="34" charset="-128"/>
            </a:endParaRPr>
          </a:p>
        </p:txBody>
      </p:sp>
      <p:sp>
        <p:nvSpPr>
          <p:cNvPr id="25" name="Rectangle 24">
            <a:extLst>
              <a:ext uri="{FF2B5EF4-FFF2-40B4-BE49-F238E27FC236}">
                <a16:creationId xmlns:a16="http://schemas.microsoft.com/office/drawing/2014/main" id="{0F7FA3AC-2E37-4C1D-899F-43D804EDA184}"/>
              </a:ext>
            </a:extLst>
          </p:cNvPr>
          <p:cNvSpPr/>
          <p:nvPr/>
        </p:nvSpPr>
        <p:spPr>
          <a:xfrm>
            <a:off x="373521" y="2875383"/>
            <a:ext cx="2921113" cy="261610"/>
          </a:xfrm>
          <a:prstGeom prst="rect">
            <a:avLst/>
          </a:prstGeom>
        </p:spPr>
        <p:txBody>
          <a:bodyPr wrap="square">
            <a:spAutoFit/>
          </a:bodyPr>
          <a:lstStyle/>
          <a:p>
            <a:pPr defTabSz="914400">
              <a:buClr>
                <a:srgbClr val="003068"/>
              </a:buClr>
            </a:pPr>
            <a:r>
              <a:rPr lang="en-US" sz="1100">
                <a:solidFill>
                  <a:srgbClr val="000000"/>
                </a:solidFill>
                <a:ea typeface="ＭＳ Ｐゴシック" pitchFamily="34" charset="-128"/>
              </a:rPr>
              <a:t>Support, Development, and Operations</a:t>
            </a:r>
          </a:p>
        </p:txBody>
      </p:sp>
      <p:cxnSp>
        <p:nvCxnSpPr>
          <p:cNvPr id="26" name="Straight Connector 25">
            <a:extLst>
              <a:ext uri="{FF2B5EF4-FFF2-40B4-BE49-F238E27FC236}">
                <a16:creationId xmlns:a16="http://schemas.microsoft.com/office/drawing/2014/main" id="{4DDE0BC5-D2CC-4A9F-B156-8FEBE451986D}"/>
              </a:ext>
            </a:extLst>
          </p:cNvPr>
          <p:cNvCxnSpPr>
            <a:cxnSpLocks/>
          </p:cNvCxnSpPr>
          <p:nvPr/>
        </p:nvCxnSpPr>
        <p:spPr>
          <a:xfrm>
            <a:off x="4052248" y="1075408"/>
            <a:ext cx="24466" cy="5474056"/>
          </a:xfrm>
          <a:prstGeom prst="line">
            <a:avLst/>
          </a:prstGeom>
          <a:ln w="6350">
            <a:solidFill>
              <a:srgbClr val="0095D3">
                <a:alpha val="50000"/>
              </a:srgb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44BFDF2-6F65-4134-ADA9-E8F6643D24A6}"/>
              </a:ext>
            </a:extLst>
          </p:cNvPr>
          <p:cNvCxnSpPr>
            <a:cxnSpLocks/>
          </p:cNvCxnSpPr>
          <p:nvPr/>
        </p:nvCxnSpPr>
        <p:spPr>
          <a:xfrm>
            <a:off x="7999722" y="1069374"/>
            <a:ext cx="24466" cy="5474056"/>
          </a:xfrm>
          <a:prstGeom prst="line">
            <a:avLst/>
          </a:prstGeom>
          <a:ln w="6350">
            <a:solidFill>
              <a:srgbClr val="0095D3">
                <a:alpha val="50000"/>
              </a:srgb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758CF31-74D6-4044-B856-556C9E2081FD}"/>
              </a:ext>
            </a:extLst>
          </p:cNvPr>
          <p:cNvSpPr txBox="1"/>
          <p:nvPr/>
        </p:nvSpPr>
        <p:spPr>
          <a:xfrm>
            <a:off x="940596" y="1179874"/>
            <a:ext cx="1605995" cy="3600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Description</a:t>
            </a:r>
            <a:endParaRPr lang="en-US" sz="1800">
              <a:solidFill>
                <a:srgbClr val="717074"/>
              </a:solidFill>
            </a:endParaRPr>
          </a:p>
        </p:txBody>
      </p:sp>
      <p:grpSp>
        <p:nvGrpSpPr>
          <p:cNvPr id="31" name="Group 30">
            <a:extLst>
              <a:ext uri="{FF2B5EF4-FFF2-40B4-BE49-F238E27FC236}">
                <a16:creationId xmlns:a16="http://schemas.microsoft.com/office/drawing/2014/main" id="{661D79AC-0556-4189-96B2-BBF3BA0DFC47}"/>
              </a:ext>
            </a:extLst>
          </p:cNvPr>
          <p:cNvGrpSpPr>
            <a:grpSpLocks noChangeAspect="1"/>
          </p:cNvGrpSpPr>
          <p:nvPr/>
        </p:nvGrpSpPr>
        <p:grpSpPr>
          <a:xfrm>
            <a:off x="630255" y="1210507"/>
            <a:ext cx="416203" cy="317631"/>
            <a:chOff x="3494088" y="5276851"/>
            <a:chExt cx="939801" cy="839788"/>
          </a:xfrm>
          <a:solidFill>
            <a:schemeClr val="bg1"/>
          </a:solidFill>
        </p:grpSpPr>
        <p:sp>
          <p:nvSpPr>
            <p:cNvPr id="32" name="Freeform 1961">
              <a:extLst>
                <a:ext uri="{FF2B5EF4-FFF2-40B4-BE49-F238E27FC236}">
                  <a16:creationId xmlns:a16="http://schemas.microsoft.com/office/drawing/2014/main" id="{BD0ED1A1-6215-4E00-92FD-EA257CE3808A}"/>
                </a:ext>
              </a:extLst>
            </p:cNvPr>
            <p:cNvSpPr>
              <a:spLocks/>
            </p:cNvSpPr>
            <p:nvPr/>
          </p:nvSpPr>
          <p:spPr bwMode="auto">
            <a:xfrm>
              <a:off x="3494088" y="5276851"/>
              <a:ext cx="687388" cy="839788"/>
            </a:xfrm>
            <a:custGeom>
              <a:avLst/>
              <a:gdLst>
                <a:gd name="T0" fmla="*/ 401 w 433"/>
                <a:gd name="T1" fmla="*/ 370 h 529"/>
                <a:gd name="T2" fmla="*/ 401 w 433"/>
                <a:gd name="T3" fmla="*/ 473 h 529"/>
                <a:gd name="T4" fmla="*/ 399 w 433"/>
                <a:gd name="T5" fmla="*/ 482 h 529"/>
                <a:gd name="T6" fmla="*/ 394 w 433"/>
                <a:gd name="T7" fmla="*/ 490 h 529"/>
                <a:gd name="T8" fmla="*/ 386 w 433"/>
                <a:gd name="T9" fmla="*/ 495 h 529"/>
                <a:gd name="T10" fmla="*/ 376 w 433"/>
                <a:gd name="T11" fmla="*/ 497 h 529"/>
                <a:gd name="T12" fmla="*/ 57 w 433"/>
                <a:gd name="T13" fmla="*/ 497 h 529"/>
                <a:gd name="T14" fmla="*/ 47 w 433"/>
                <a:gd name="T15" fmla="*/ 495 h 529"/>
                <a:gd name="T16" fmla="*/ 40 w 433"/>
                <a:gd name="T17" fmla="*/ 490 h 529"/>
                <a:gd name="T18" fmla="*/ 35 w 433"/>
                <a:gd name="T19" fmla="*/ 482 h 529"/>
                <a:gd name="T20" fmla="*/ 33 w 433"/>
                <a:gd name="T21" fmla="*/ 473 h 529"/>
                <a:gd name="T22" fmla="*/ 33 w 433"/>
                <a:gd name="T23" fmla="*/ 56 h 529"/>
                <a:gd name="T24" fmla="*/ 35 w 433"/>
                <a:gd name="T25" fmla="*/ 47 h 529"/>
                <a:gd name="T26" fmla="*/ 40 w 433"/>
                <a:gd name="T27" fmla="*/ 39 h 529"/>
                <a:gd name="T28" fmla="*/ 47 w 433"/>
                <a:gd name="T29" fmla="*/ 34 h 529"/>
                <a:gd name="T30" fmla="*/ 57 w 433"/>
                <a:gd name="T31" fmla="*/ 32 h 529"/>
                <a:gd name="T32" fmla="*/ 376 w 433"/>
                <a:gd name="T33" fmla="*/ 32 h 529"/>
                <a:gd name="T34" fmla="*/ 386 w 433"/>
                <a:gd name="T35" fmla="*/ 34 h 529"/>
                <a:gd name="T36" fmla="*/ 394 w 433"/>
                <a:gd name="T37" fmla="*/ 39 h 529"/>
                <a:gd name="T38" fmla="*/ 399 w 433"/>
                <a:gd name="T39" fmla="*/ 47 h 529"/>
                <a:gd name="T40" fmla="*/ 401 w 433"/>
                <a:gd name="T41" fmla="*/ 56 h 529"/>
                <a:gd name="T42" fmla="*/ 401 w 433"/>
                <a:gd name="T43" fmla="*/ 192 h 529"/>
                <a:gd name="T44" fmla="*/ 433 w 433"/>
                <a:gd name="T45" fmla="*/ 169 h 529"/>
                <a:gd name="T46" fmla="*/ 433 w 433"/>
                <a:gd name="T47" fmla="*/ 56 h 529"/>
                <a:gd name="T48" fmla="*/ 430 w 433"/>
                <a:gd name="T49" fmla="*/ 39 h 529"/>
                <a:gd name="T50" fmla="*/ 422 w 433"/>
                <a:gd name="T51" fmla="*/ 23 h 529"/>
                <a:gd name="T52" fmla="*/ 410 w 433"/>
                <a:gd name="T53" fmla="*/ 11 h 529"/>
                <a:gd name="T54" fmla="*/ 394 w 433"/>
                <a:gd name="T55" fmla="*/ 3 h 529"/>
                <a:gd name="T56" fmla="*/ 376 w 433"/>
                <a:gd name="T57" fmla="*/ 0 h 529"/>
                <a:gd name="T58" fmla="*/ 57 w 433"/>
                <a:gd name="T59" fmla="*/ 0 h 529"/>
                <a:gd name="T60" fmla="*/ 39 w 433"/>
                <a:gd name="T61" fmla="*/ 3 h 529"/>
                <a:gd name="T62" fmla="*/ 24 w 433"/>
                <a:gd name="T63" fmla="*/ 11 h 529"/>
                <a:gd name="T64" fmla="*/ 11 w 433"/>
                <a:gd name="T65" fmla="*/ 23 h 529"/>
                <a:gd name="T66" fmla="*/ 3 w 433"/>
                <a:gd name="T67" fmla="*/ 39 h 529"/>
                <a:gd name="T68" fmla="*/ 0 w 433"/>
                <a:gd name="T69" fmla="*/ 56 h 529"/>
                <a:gd name="T70" fmla="*/ 0 w 433"/>
                <a:gd name="T71" fmla="*/ 473 h 529"/>
                <a:gd name="T72" fmla="*/ 3 w 433"/>
                <a:gd name="T73" fmla="*/ 490 h 529"/>
                <a:gd name="T74" fmla="*/ 11 w 433"/>
                <a:gd name="T75" fmla="*/ 506 h 529"/>
                <a:gd name="T76" fmla="*/ 24 w 433"/>
                <a:gd name="T77" fmla="*/ 518 h 529"/>
                <a:gd name="T78" fmla="*/ 39 w 433"/>
                <a:gd name="T79" fmla="*/ 526 h 529"/>
                <a:gd name="T80" fmla="*/ 57 w 433"/>
                <a:gd name="T81" fmla="*/ 529 h 529"/>
                <a:gd name="T82" fmla="*/ 376 w 433"/>
                <a:gd name="T83" fmla="*/ 529 h 529"/>
                <a:gd name="T84" fmla="*/ 394 w 433"/>
                <a:gd name="T85" fmla="*/ 526 h 529"/>
                <a:gd name="T86" fmla="*/ 410 w 433"/>
                <a:gd name="T87" fmla="*/ 518 h 529"/>
                <a:gd name="T88" fmla="*/ 422 w 433"/>
                <a:gd name="T89" fmla="*/ 506 h 529"/>
                <a:gd name="T90" fmla="*/ 430 w 433"/>
                <a:gd name="T91" fmla="*/ 490 h 529"/>
                <a:gd name="T92" fmla="*/ 433 w 433"/>
                <a:gd name="T93" fmla="*/ 473 h 529"/>
                <a:gd name="T94" fmla="*/ 433 w 433"/>
                <a:gd name="T95" fmla="*/ 346 h 529"/>
                <a:gd name="T96" fmla="*/ 401 w 433"/>
                <a:gd name="T97" fmla="*/ 37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3" h="529">
                  <a:moveTo>
                    <a:pt x="401" y="370"/>
                  </a:moveTo>
                  <a:lnTo>
                    <a:pt x="401" y="473"/>
                  </a:lnTo>
                  <a:lnTo>
                    <a:pt x="399" y="482"/>
                  </a:lnTo>
                  <a:lnTo>
                    <a:pt x="394" y="490"/>
                  </a:lnTo>
                  <a:lnTo>
                    <a:pt x="386" y="495"/>
                  </a:lnTo>
                  <a:lnTo>
                    <a:pt x="376" y="497"/>
                  </a:lnTo>
                  <a:lnTo>
                    <a:pt x="57" y="497"/>
                  </a:lnTo>
                  <a:lnTo>
                    <a:pt x="47" y="495"/>
                  </a:lnTo>
                  <a:lnTo>
                    <a:pt x="40" y="490"/>
                  </a:lnTo>
                  <a:lnTo>
                    <a:pt x="35" y="482"/>
                  </a:lnTo>
                  <a:lnTo>
                    <a:pt x="33" y="473"/>
                  </a:lnTo>
                  <a:lnTo>
                    <a:pt x="33" y="56"/>
                  </a:lnTo>
                  <a:lnTo>
                    <a:pt x="35" y="47"/>
                  </a:lnTo>
                  <a:lnTo>
                    <a:pt x="40" y="39"/>
                  </a:lnTo>
                  <a:lnTo>
                    <a:pt x="47" y="34"/>
                  </a:lnTo>
                  <a:lnTo>
                    <a:pt x="57" y="32"/>
                  </a:lnTo>
                  <a:lnTo>
                    <a:pt x="376" y="32"/>
                  </a:lnTo>
                  <a:lnTo>
                    <a:pt x="386" y="34"/>
                  </a:lnTo>
                  <a:lnTo>
                    <a:pt x="394" y="39"/>
                  </a:lnTo>
                  <a:lnTo>
                    <a:pt x="399" y="47"/>
                  </a:lnTo>
                  <a:lnTo>
                    <a:pt x="401" y="56"/>
                  </a:lnTo>
                  <a:lnTo>
                    <a:pt x="401" y="192"/>
                  </a:lnTo>
                  <a:lnTo>
                    <a:pt x="433" y="169"/>
                  </a:lnTo>
                  <a:lnTo>
                    <a:pt x="433" y="56"/>
                  </a:lnTo>
                  <a:lnTo>
                    <a:pt x="430" y="39"/>
                  </a:lnTo>
                  <a:lnTo>
                    <a:pt x="422" y="23"/>
                  </a:lnTo>
                  <a:lnTo>
                    <a:pt x="410" y="11"/>
                  </a:lnTo>
                  <a:lnTo>
                    <a:pt x="394" y="3"/>
                  </a:lnTo>
                  <a:lnTo>
                    <a:pt x="376" y="0"/>
                  </a:lnTo>
                  <a:lnTo>
                    <a:pt x="57" y="0"/>
                  </a:lnTo>
                  <a:lnTo>
                    <a:pt x="39" y="3"/>
                  </a:lnTo>
                  <a:lnTo>
                    <a:pt x="24" y="11"/>
                  </a:lnTo>
                  <a:lnTo>
                    <a:pt x="11" y="23"/>
                  </a:lnTo>
                  <a:lnTo>
                    <a:pt x="3" y="39"/>
                  </a:lnTo>
                  <a:lnTo>
                    <a:pt x="0" y="56"/>
                  </a:lnTo>
                  <a:lnTo>
                    <a:pt x="0" y="473"/>
                  </a:lnTo>
                  <a:lnTo>
                    <a:pt x="3" y="490"/>
                  </a:lnTo>
                  <a:lnTo>
                    <a:pt x="11" y="506"/>
                  </a:lnTo>
                  <a:lnTo>
                    <a:pt x="24" y="518"/>
                  </a:lnTo>
                  <a:lnTo>
                    <a:pt x="39" y="526"/>
                  </a:lnTo>
                  <a:lnTo>
                    <a:pt x="57" y="529"/>
                  </a:lnTo>
                  <a:lnTo>
                    <a:pt x="376" y="529"/>
                  </a:lnTo>
                  <a:lnTo>
                    <a:pt x="394" y="526"/>
                  </a:lnTo>
                  <a:lnTo>
                    <a:pt x="410" y="518"/>
                  </a:lnTo>
                  <a:lnTo>
                    <a:pt x="422" y="506"/>
                  </a:lnTo>
                  <a:lnTo>
                    <a:pt x="430" y="490"/>
                  </a:lnTo>
                  <a:lnTo>
                    <a:pt x="433" y="473"/>
                  </a:lnTo>
                  <a:lnTo>
                    <a:pt x="433" y="346"/>
                  </a:lnTo>
                  <a:lnTo>
                    <a:pt x="401" y="3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3" name="Freeform 1962">
              <a:extLst>
                <a:ext uri="{FF2B5EF4-FFF2-40B4-BE49-F238E27FC236}">
                  <a16:creationId xmlns:a16="http://schemas.microsoft.com/office/drawing/2014/main" id="{CDFE449F-26EC-4FF6-BD98-56F1CDD47373}"/>
                </a:ext>
              </a:extLst>
            </p:cNvPr>
            <p:cNvSpPr>
              <a:spLocks noEditPoints="1"/>
            </p:cNvSpPr>
            <p:nvPr/>
          </p:nvSpPr>
          <p:spPr bwMode="auto">
            <a:xfrm>
              <a:off x="3965576" y="5475288"/>
              <a:ext cx="468313" cy="377825"/>
            </a:xfrm>
            <a:custGeom>
              <a:avLst/>
              <a:gdLst>
                <a:gd name="T0" fmla="*/ 257 w 295"/>
                <a:gd name="T1" fmla="*/ 5 h 238"/>
                <a:gd name="T2" fmla="*/ 230 w 295"/>
                <a:gd name="T3" fmla="*/ 1 h 238"/>
                <a:gd name="T4" fmla="*/ 43 w 295"/>
                <a:gd name="T5" fmla="*/ 136 h 238"/>
                <a:gd name="T6" fmla="*/ 34 w 295"/>
                <a:gd name="T7" fmla="*/ 154 h 238"/>
                <a:gd name="T8" fmla="*/ 15 w 295"/>
                <a:gd name="T9" fmla="*/ 189 h 238"/>
                <a:gd name="T10" fmla="*/ 3 w 295"/>
                <a:gd name="T11" fmla="*/ 213 h 238"/>
                <a:gd name="T12" fmla="*/ 0 w 295"/>
                <a:gd name="T13" fmla="*/ 224 h 238"/>
                <a:gd name="T14" fmla="*/ 6 w 295"/>
                <a:gd name="T15" fmla="*/ 237 h 238"/>
                <a:gd name="T16" fmla="*/ 37 w 295"/>
                <a:gd name="T17" fmla="*/ 235 h 238"/>
                <a:gd name="T18" fmla="*/ 82 w 295"/>
                <a:gd name="T19" fmla="*/ 225 h 238"/>
                <a:gd name="T20" fmla="*/ 104 w 295"/>
                <a:gd name="T21" fmla="*/ 219 h 238"/>
                <a:gd name="T22" fmla="*/ 282 w 295"/>
                <a:gd name="T23" fmla="*/ 89 h 238"/>
                <a:gd name="T24" fmla="*/ 294 w 295"/>
                <a:gd name="T25" fmla="*/ 56 h 238"/>
                <a:gd name="T26" fmla="*/ 34 w 295"/>
                <a:gd name="T27" fmla="*/ 211 h 238"/>
                <a:gd name="T28" fmla="*/ 29 w 295"/>
                <a:gd name="T29" fmla="*/ 195 h 238"/>
                <a:gd name="T30" fmla="*/ 41 w 295"/>
                <a:gd name="T31" fmla="*/ 172 h 238"/>
                <a:gd name="T32" fmla="*/ 77 w 295"/>
                <a:gd name="T33" fmla="*/ 210 h 238"/>
                <a:gd name="T34" fmla="*/ 59 w 295"/>
                <a:gd name="T35" fmla="*/ 214 h 238"/>
                <a:gd name="T36" fmla="*/ 88 w 295"/>
                <a:gd name="T37" fmla="*/ 140 h 238"/>
                <a:gd name="T38" fmla="*/ 83 w 295"/>
                <a:gd name="T39" fmla="*/ 137 h 238"/>
                <a:gd name="T40" fmla="*/ 83 w 295"/>
                <a:gd name="T41" fmla="*/ 131 h 238"/>
                <a:gd name="T42" fmla="*/ 182 w 295"/>
                <a:gd name="T43" fmla="*/ 57 h 238"/>
                <a:gd name="T44" fmla="*/ 188 w 295"/>
                <a:gd name="T45" fmla="*/ 60 h 238"/>
                <a:gd name="T46" fmla="*/ 188 w 295"/>
                <a:gd name="T47" fmla="*/ 66 h 238"/>
                <a:gd name="T48" fmla="*/ 90 w 295"/>
                <a:gd name="T49" fmla="*/ 140 h 238"/>
                <a:gd name="T50" fmla="*/ 102 w 295"/>
                <a:gd name="T51" fmla="*/ 161 h 238"/>
                <a:gd name="T52" fmla="*/ 98 w 295"/>
                <a:gd name="T53" fmla="*/ 157 h 238"/>
                <a:gd name="T54" fmla="*/ 100 w 295"/>
                <a:gd name="T55" fmla="*/ 151 h 238"/>
                <a:gd name="T56" fmla="*/ 201 w 295"/>
                <a:gd name="T57" fmla="*/ 79 h 238"/>
                <a:gd name="T58" fmla="*/ 206 w 295"/>
                <a:gd name="T59" fmla="*/ 84 h 238"/>
                <a:gd name="T60" fmla="*/ 204 w 295"/>
                <a:gd name="T61" fmla="*/ 90 h 238"/>
                <a:gd name="T62" fmla="*/ 104 w 295"/>
                <a:gd name="T63" fmla="*/ 162 h 238"/>
                <a:gd name="T64" fmla="*/ 122 w 295"/>
                <a:gd name="T65" fmla="*/ 183 h 238"/>
                <a:gd name="T66" fmla="*/ 117 w 295"/>
                <a:gd name="T67" fmla="*/ 182 h 238"/>
                <a:gd name="T68" fmla="*/ 114 w 295"/>
                <a:gd name="T69" fmla="*/ 176 h 238"/>
                <a:gd name="T70" fmla="*/ 213 w 295"/>
                <a:gd name="T71" fmla="*/ 102 h 238"/>
                <a:gd name="T72" fmla="*/ 220 w 295"/>
                <a:gd name="T73" fmla="*/ 102 h 238"/>
                <a:gd name="T74" fmla="*/ 222 w 295"/>
                <a:gd name="T75" fmla="*/ 108 h 238"/>
                <a:gd name="T76" fmla="*/ 271 w 295"/>
                <a:gd name="T77" fmla="*/ 74 h 238"/>
                <a:gd name="T78" fmla="*/ 232 w 295"/>
                <a:gd name="T79" fmla="*/ 20 h 238"/>
                <a:gd name="T80" fmla="*/ 239 w 295"/>
                <a:gd name="T81" fmla="*/ 18 h 238"/>
                <a:gd name="T82" fmla="*/ 250 w 295"/>
                <a:gd name="T83" fmla="*/ 23 h 238"/>
                <a:gd name="T84" fmla="*/ 276 w 295"/>
                <a:gd name="T85" fmla="*/ 6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5" h="238">
                  <a:moveTo>
                    <a:pt x="289" y="45"/>
                  </a:moveTo>
                  <a:lnTo>
                    <a:pt x="265" y="12"/>
                  </a:lnTo>
                  <a:lnTo>
                    <a:pt x="257" y="5"/>
                  </a:lnTo>
                  <a:lnTo>
                    <a:pt x="249" y="1"/>
                  </a:lnTo>
                  <a:lnTo>
                    <a:pt x="239" y="0"/>
                  </a:lnTo>
                  <a:lnTo>
                    <a:pt x="230" y="1"/>
                  </a:lnTo>
                  <a:lnTo>
                    <a:pt x="221" y="6"/>
                  </a:lnTo>
                  <a:lnTo>
                    <a:pt x="203" y="19"/>
                  </a:lnTo>
                  <a:lnTo>
                    <a:pt x="43" y="136"/>
                  </a:lnTo>
                  <a:lnTo>
                    <a:pt x="42" y="139"/>
                  </a:lnTo>
                  <a:lnTo>
                    <a:pt x="39" y="145"/>
                  </a:lnTo>
                  <a:lnTo>
                    <a:pt x="34" y="154"/>
                  </a:lnTo>
                  <a:lnTo>
                    <a:pt x="28" y="166"/>
                  </a:lnTo>
                  <a:lnTo>
                    <a:pt x="21" y="178"/>
                  </a:lnTo>
                  <a:lnTo>
                    <a:pt x="15" y="189"/>
                  </a:lnTo>
                  <a:lnTo>
                    <a:pt x="10" y="200"/>
                  </a:lnTo>
                  <a:lnTo>
                    <a:pt x="6" y="208"/>
                  </a:lnTo>
                  <a:lnTo>
                    <a:pt x="3" y="213"/>
                  </a:lnTo>
                  <a:lnTo>
                    <a:pt x="2" y="216"/>
                  </a:lnTo>
                  <a:lnTo>
                    <a:pt x="0" y="219"/>
                  </a:lnTo>
                  <a:lnTo>
                    <a:pt x="0" y="224"/>
                  </a:lnTo>
                  <a:lnTo>
                    <a:pt x="0" y="229"/>
                  </a:lnTo>
                  <a:lnTo>
                    <a:pt x="2" y="234"/>
                  </a:lnTo>
                  <a:lnTo>
                    <a:pt x="6" y="237"/>
                  </a:lnTo>
                  <a:lnTo>
                    <a:pt x="13" y="238"/>
                  </a:lnTo>
                  <a:lnTo>
                    <a:pt x="23" y="237"/>
                  </a:lnTo>
                  <a:lnTo>
                    <a:pt x="37" y="235"/>
                  </a:lnTo>
                  <a:lnTo>
                    <a:pt x="53" y="231"/>
                  </a:lnTo>
                  <a:lnTo>
                    <a:pt x="68" y="228"/>
                  </a:lnTo>
                  <a:lnTo>
                    <a:pt x="82" y="225"/>
                  </a:lnTo>
                  <a:lnTo>
                    <a:pt x="94" y="222"/>
                  </a:lnTo>
                  <a:lnTo>
                    <a:pt x="102" y="220"/>
                  </a:lnTo>
                  <a:lnTo>
                    <a:pt x="104" y="219"/>
                  </a:lnTo>
                  <a:lnTo>
                    <a:pt x="239" y="121"/>
                  </a:lnTo>
                  <a:lnTo>
                    <a:pt x="239" y="121"/>
                  </a:lnTo>
                  <a:lnTo>
                    <a:pt x="282" y="89"/>
                  </a:lnTo>
                  <a:lnTo>
                    <a:pt x="291" y="80"/>
                  </a:lnTo>
                  <a:lnTo>
                    <a:pt x="295" y="68"/>
                  </a:lnTo>
                  <a:lnTo>
                    <a:pt x="294" y="56"/>
                  </a:lnTo>
                  <a:lnTo>
                    <a:pt x="289" y="45"/>
                  </a:lnTo>
                  <a:close/>
                  <a:moveTo>
                    <a:pt x="37" y="218"/>
                  </a:moveTo>
                  <a:lnTo>
                    <a:pt x="34" y="211"/>
                  </a:lnTo>
                  <a:lnTo>
                    <a:pt x="29" y="206"/>
                  </a:lnTo>
                  <a:lnTo>
                    <a:pt x="25" y="202"/>
                  </a:lnTo>
                  <a:lnTo>
                    <a:pt x="29" y="195"/>
                  </a:lnTo>
                  <a:lnTo>
                    <a:pt x="33" y="187"/>
                  </a:lnTo>
                  <a:lnTo>
                    <a:pt x="37" y="179"/>
                  </a:lnTo>
                  <a:lnTo>
                    <a:pt x="41" y="172"/>
                  </a:lnTo>
                  <a:lnTo>
                    <a:pt x="43" y="168"/>
                  </a:lnTo>
                  <a:lnTo>
                    <a:pt x="44" y="166"/>
                  </a:lnTo>
                  <a:lnTo>
                    <a:pt x="77" y="210"/>
                  </a:lnTo>
                  <a:lnTo>
                    <a:pt x="74" y="210"/>
                  </a:lnTo>
                  <a:lnTo>
                    <a:pt x="68" y="212"/>
                  </a:lnTo>
                  <a:lnTo>
                    <a:pt x="59" y="214"/>
                  </a:lnTo>
                  <a:lnTo>
                    <a:pt x="48" y="216"/>
                  </a:lnTo>
                  <a:lnTo>
                    <a:pt x="37" y="218"/>
                  </a:lnTo>
                  <a:close/>
                  <a:moveTo>
                    <a:pt x="88" y="140"/>
                  </a:moveTo>
                  <a:lnTo>
                    <a:pt x="86" y="140"/>
                  </a:lnTo>
                  <a:lnTo>
                    <a:pt x="84" y="139"/>
                  </a:lnTo>
                  <a:lnTo>
                    <a:pt x="83" y="137"/>
                  </a:lnTo>
                  <a:lnTo>
                    <a:pt x="82" y="135"/>
                  </a:lnTo>
                  <a:lnTo>
                    <a:pt x="82" y="133"/>
                  </a:lnTo>
                  <a:lnTo>
                    <a:pt x="83" y="131"/>
                  </a:lnTo>
                  <a:lnTo>
                    <a:pt x="84" y="129"/>
                  </a:lnTo>
                  <a:lnTo>
                    <a:pt x="180" y="59"/>
                  </a:lnTo>
                  <a:lnTo>
                    <a:pt x="182" y="57"/>
                  </a:lnTo>
                  <a:lnTo>
                    <a:pt x="184" y="57"/>
                  </a:lnTo>
                  <a:lnTo>
                    <a:pt x="186" y="58"/>
                  </a:lnTo>
                  <a:lnTo>
                    <a:pt x="188" y="60"/>
                  </a:lnTo>
                  <a:lnTo>
                    <a:pt x="189" y="62"/>
                  </a:lnTo>
                  <a:lnTo>
                    <a:pt x="189" y="64"/>
                  </a:lnTo>
                  <a:lnTo>
                    <a:pt x="188" y="66"/>
                  </a:lnTo>
                  <a:lnTo>
                    <a:pt x="187" y="68"/>
                  </a:lnTo>
                  <a:lnTo>
                    <a:pt x="92" y="139"/>
                  </a:lnTo>
                  <a:lnTo>
                    <a:pt x="90" y="140"/>
                  </a:lnTo>
                  <a:lnTo>
                    <a:pt x="88" y="140"/>
                  </a:lnTo>
                  <a:close/>
                  <a:moveTo>
                    <a:pt x="104" y="162"/>
                  </a:moveTo>
                  <a:lnTo>
                    <a:pt x="102" y="161"/>
                  </a:lnTo>
                  <a:lnTo>
                    <a:pt x="101" y="161"/>
                  </a:lnTo>
                  <a:lnTo>
                    <a:pt x="99" y="159"/>
                  </a:lnTo>
                  <a:lnTo>
                    <a:pt x="98" y="157"/>
                  </a:lnTo>
                  <a:lnTo>
                    <a:pt x="98" y="155"/>
                  </a:lnTo>
                  <a:lnTo>
                    <a:pt x="99" y="152"/>
                  </a:lnTo>
                  <a:lnTo>
                    <a:pt x="100" y="151"/>
                  </a:lnTo>
                  <a:lnTo>
                    <a:pt x="196" y="80"/>
                  </a:lnTo>
                  <a:lnTo>
                    <a:pt x="199" y="79"/>
                  </a:lnTo>
                  <a:lnTo>
                    <a:pt x="201" y="79"/>
                  </a:lnTo>
                  <a:lnTo>
                    <a:pt x="203" y="80"/>
                  </a:lnTo>
                  <a:lnTo>
                    <a:pt x="205" y="82"/>
                  </a:lnTo>
                  <a:lnTo>
                    <a:pt x="206" y="84"/>
                  </a:lnTo>
                  <a:lnTo>
                    <a:pt x="206" y="86"/>
                  </a:lnTo>
                  <a:lnTo>
                    <a:pt x="206" y="88"/>
                  </a:lnTo>
                  <a:lnTo>
                    <a:pt x="204" y="90"/>
                  </a:lnTo>
                  <a:lnTo>
                    <a:pt x="108" y="160"/>
                  </a:lnTo>
                  <a:lnTo>
                    <a:pt x="106" y="161"/>
                  </a:lnTo>
                  <a:lnTo>
                    <a:pt x="104" y="162"/>
                  </a:lnTo>
                  <a:close/>
                  <a:moveTo>
                    <a:pt x="220" y="112"/>
                  </a:moveTo>
                  <a:lnTo>
                    <a:pt x="124" y="182"/>
                  </a:lnTo>
                  <a:lnTo>
                    <a:pt x="122" y="183"/>
                  </a:lnTo>
                  <a:lnTo>
                    <a:pt x="120" y="183"/>
                  </a:lnTo>
                  <a:lnTo>
                    <a:pt x="118" y="183"/>
                  </a:lnTo>
                  <a:lnTo>
                    <a:pt x="117" y="182"/>
                  </a:lnTo>
                  <a:lnTo>
                    <a:pt x="115" y="181"/>
                  </a:lnTo>
                  <a:lnTo>
                    <a:pt x="114" y="179"/>
                  </a:lnTo>
                  <a:lnTo>
                    <a:pt x="114" y="176"/>
                  </a:lnTo>
                  <a:lnTo>
                    <a:pt x="115" y="174"/>
                  </a:lnTo>
                  <a:lnTo>
                    <a:pt x="117" y="172"/>
                  </a:lnTo>
                  <a:lnTo>
                    <a:pt x="213" y="102"/>
                  </a:lnTo>
                  <a:lnTo>
                    <a:pt x="215" y="101"/>
                  </a:lnTo>
                  <a:lnTo>
                    <a:pt x="217" y="101"/>
                  </a:lnTo>
                  <a:lnTo>
                    <a:pt x="220" y="102"/>
                  </a:lnTo>
                  <a:lnTo>
                    <a:pt x="221" y="103"/>
                  </a:lnTo>
                  <a:lnTo>
                    <a:pt x="222" y="106"/>
                  </a:lnTo>
                  <a:lnTo>
                    <a:pt x="222" y="108"/>
                  </a:lnTo>
                  <a:lnTo>
                    <a:pt x="222" y="110"/>
                  </a:lnTo>
                  <a:lnTo>
                    <a:pt x="220" y="112"/>
                  </a:lnTo>
                  <a:close/>
                  <a:moveTo>
                    <a:pt x="271" y="74"/>
                  </a:moveTo>
                  <a:lnTo>
                    <a:pt x="253" y="88"/>
                  </a:lnTo>
                  <a:lnTo>
                    <a:pt x="213" y="34"/>
                  </a:lnTo>
                  <a:lnTo>
                    <a:pt x="232" y="20"/>
                  </a:lnTo>
                  <a:lnTo>
                    <a:pt x="235" y="19"/>
                  </a:lnTo>
                  <a:lnTo>
                    <a:pt x="237" y="18"/>
                  </a:lnTo>
                  <a:lnTo>
                    <a:pt x="239" y="18"/>
                  </a:lnTo>
                  <a:lnTo>
                    <a:pt x="243" y="18"/>
                  </a:lnTo>
                  <a:lnTo>
                    <a:pt x="247" y="20"/>
                  </a:lnTo>
                  <a:lnTo>
                    <a:pt x="250" y="23"/>
                  </a:lnTo>
                  <a:lnTo>
                    <a:pt x="274" y="56"/>
                  </a:lnTo>
                  <a:lnTo>
                    <a:pt x="277" y="62"/>
                  </a:lnTo>
                  <a:lnTo>
                    <a:pt x="276" y="69"/>
                  </a:lnTo>
                  <a:lnTo>
                    <a:pt x="271" y="7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4" name="Freeform 1963">
              <a:extLst>
                <a:ext uri="{FF2B5EF4-FFF2-40B4-BE49-F238E27FC236}">
                  <a16:creationId xmlns:a16="http://schemas.microsoft.com/office/drawing/2014/main" id="{E90C0236-FE1C-4837-82E0-E2F372DEE877}"/>
                </a:ext>
              </a:extLst>
            </p:cNvPr>
            <p:cNvSpPr>
              <a:spLocks/>
            </p:cNvSpPr>
            <p:nvPr/>
          </p:nvSpPr>
          <p:spPr bwMode="auto">
            <a:xfrm>
              <a:off x="3632201" y="5503863"/>
              <a:ext cx="180975" cy="39688"/>
            </a:xfrm>
            <a:custGeom>
              <a:avLst/>
              <a:gdLst>
                <a:gd name="T0" fmla="*/ 101 w 114"/>
                <a:gd name="T1" fmla="*/ 25 h 25"/>
                <a:gd name="T2" fmla="*/ 13 w 114"/>
                <a:gd name="T3" fmla="*/ 25 h 25"/>
                <a:gd name="T4" fmla="*/ 9 w 114"/>
                <a:gd name="T5" fmla="*/ 24 h 25"/>
                <a:gd name="T6" fmla="*/ 5 w 114"/>
                <a:gd name="T7" fmla="*/ 22 h 25"/>
                <a:gd name="T8" fmla="*/ 3 w 114"/>
                <a:gd name="T9" fmla="*/ 20 h 25"/>
                <a:gd name="T10" fmla="*/ 1 w 114"/>
                <a:gd name="T11" fmla="*/ 16 h 25"/>
                <a:gd name="T12" fmla="*/ 0 w 114"/>
                <a:gd name="T13" fmla="*/ 12 h 25"/>
                <a:gd name="T14" fmla="*/ 1 w 114"/>
                <a:gd name="T15" fmla="*/ 8 h 25"/>
                <a:gd name="T16" fmla="*/ 3 w 114"/>
                <a:gd name="T17" fmla="*/ 5 h 25"/>
                <a:gd name="T18" fmla="*/ 5 w 114"/>
                <a:gd name="T19" fmla="*/ 2 h 25"/>
                <a:gd name="T20" fmla="*/ 9 w 114"/>
                <a:gd name="T21" fmla="*/ 0 h 25"/>
                <a:gd name="T22" fmla="*/ 13 w 114"/>
                <a:gd name="T23" fmla="*/ 0 h 25"/>
                <a:gd name="T24" fmla="*/ 101 w 114"/>
                <a:gd name="T25" fmla="*/ 0 h 25"/>
                <a:gd name="T26" fmla="*/ 105 w 114"/>
                <a:gd name="T27" fmla="*/ 0 h 25"/>
                <a:gd name="T28" fmla="*/ 109 w 114"/>
                <a:gd name="T29" fmla="*/ 2 h 25"/>
                <a:gd name="T30" fmla="*/ 111 w 114"/>
                <a:gd name="T31" fmla="*/ 5 h 25"/>
                <a:gd name="T32" fmla="*/ 113 w 114"/>
                <a:gd name="T33" fmla="*/ 8 h 25"/>
                <a:gd name="T34" fmla="*/ 114 w 114"/>
                <a:gd name="T35" fmla="*/ 12 h 25"/>
                <a:gd name="T36" fmla="*/ 113 w 114"/>
                <a:gd name="T37" fmla="*/ 16 h 25"/>
                <a:gd name="T38" fmla="*/ 111 w 114"/>
                <a:gd name="T39" fmla="*/ 20 h 25"/>
                <a:gd name="T40" fmla="*/ 109 w 114"/>
                <a:gd name="T41" fmla="*/ 22 h 25"/>
                <a:gd name="T42" fmla="*/ 105 w 114"/>
                <a:gd name="T43" fmla="*/ 24 h 25"/>
                <a:gd name="T44" fmla="*/ 101 w 114"/>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25">
                  <a:moveTo>
                    <a:pt x="101" y="25"/>
                  </a:moveTo>
                  <a:lnTo>
                    <a:pt x="13" y="25"/>
                  </a:lnTo>
                  <a:lnTo>
                    <a:pt x="9" y="24"/>
                  </a:lnTo>
                  <a:lnTo>
                    <a:pt x="5" y="22"/>
                  </a:lnTo>
                  <a:lnTo>
                    <a:pt x="3" y="20"/>
                  </a:lnTo>
                  <a:lnTo>
                    <a:pt x="1" y="16"/>
                  </a:lnTo>
                  <a:lnTo>
                    <a:pt x="0" y="12"/>
                  </a:lnTo>
                  <a:lnTo>
                    <a:pt x="1" y="8"/>
                  </a:lnTo>
                  <a:lnTo>
                    <a:pt x="3" y="5"/>
                  </a:lnTo>
                  <a:lnTo>
                    <a:pt x="5" y="2"/>
                  </a:lnTo>
                  <a:lnTo>
                    <a:pt x="9" y="0"/>
                  </a:lnTo>
                  <a:lnTo>
                    <a:pt x="13" y="0"/>
                  </a:lnTo>
                  <a:lnTo>
                    <a:pt x="101" y="0"/>
                  </a:lnTo>
                  <a:lnTo>
                    <a:pt x="105" y="0"/>
                  </a:lnTo>
                  <a:lnTo>
                    <a:pt x="109" y="2"/>
                  </a:lnTo>
                  <a:lnTo>
                    <a:pt x="111" y="5"/>
                  </a:lnTo>
                  <a:lnTo>
                    <a:pt x="113" y="8"/>
                  </a:lnTo>
                  <a:lnTo>
                    <a:pt x="114" y="12"/>
                  </a:lnTo>
                  <a:lnTo>
                    <a:pt x="113" y="16"/>
                  </a:lnTo>
                  <a:lnTo>
                    <a:pt x="111" y="20"/>
                  </a:lnTo>
                  <a:lnTo>
                    <a:pt x="109" y="22"/>
                  </a:lnTo>
                  <a:lnTo>
                    <a:pt x="105" y="24"/>
                  </a:lnTo>
                  <a:lnTo>
                    <a:pt x="101"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5" name="Freeform 1964">
              <a:extLst>
                <a:ext uri="{FF2B5EF4-FFF2-40B4-BE49-F238E27FC236}">
                  <a16:creationId xmlns:a16="http://schemas.microsoft.com/office/drawing/2014/main" id="{4D8D7C37-4EF8-42A5-B848-5DFCBF046828}"/>
                </a:ext>
              </a:extLst>
            </p:cNvPr>
            <p:cNvSpPr>
              <a:spLocks/>
            </p:cNvSpPr>
            <p:nvPr/>
          </p:nvSpPr>
          <p:spPr bwMode="auto">
            <a:xfrm>
              <a:off x="3632201" y="5576888"/>
              <a:ext cx="303213" cy="39688"/>
            </a:xfrm>
            <a:custGeom>
              <a:avLst/>
              <a:gdLst>
                <a:gd name="T0" fmla="*/ 179 w 191"/>
                <a:gd name="T1" fmla="*/ 25 h 25"/>
                <a:gd name="T2" fmla="*/ 13 w 191"/>
                <a:gd name="T3" fmla="*/ 25 h 25"/>
                <a:gd name="T4" fmla="*/ 9 w 191"/>
                <a:gd name="T5" fmla="*/ 24 h 25"/>
                <a:gd name="T6" fmla="*/ 5 w 191"/>
                <a:gd name="T7" fmla="*/ 22 h 25"/>
                <a:gd name="T8" fmla="*/ 3 w 191"/>
                <a:gd name="T9" fmla="*/ 20 h 25"/>
                <a:gd name="T10" fmla="*/ 1 w 191"/>
                <a:gd name="T11" fmla="*/ 16 h 25"/>
                <a:gd name="T12" fmla="*/ 0 w 191"/>
                <a:gd name="T13" fmla="*/ 12 h 25"/>
                <a:gd name="T14" fmla="*/ 1 w 191"/>
                <a:gd name="T15" fmla="*/ 8 h 25"/>
                <a:gd name="T16" fmla="*/ 3 w 191"/>
                <a:gd name="T17" fmla="*/ 5 h 25"/>
                <a:gd name="T18" fmla="*/ 5 w 191"/>
                <a:gd name="T19" fmla="*/ 2 h 25"/>
                <a:gd name="T20" fmla="*/ 9 w 191"/>
                <a:gd name="T21" fmla="*/ 1 h 25"/>
                <a:gd name="T22" fmla="*/ 13 w 191"/>
                <a:gd name="T23" fmla="*/ 0 h 25"/>
                <a:gd name="T24" fmla="*/ 179 w 191"/>
                <a:gd name="T25" fmla="*/ 0 h 25"/>
                <a:gd name="T26" fmla="*/ 182 w 191"/>
                <a:gd name="T27" fmla="*/ 1 h 25"/>
                <a:gd name="T28" fmla="*/ 186 w 191"/>
                <a:gd name="T29" fmla="*/ 2 h 25"/>
                <a:gd name="T30" fmla="*/ 189 w 191"/>
                <a:gd name="T31" fmla="*/ 5 h 25"/>
                <a:gd name="T32" fmla="*/ 190 w 191"/>
                <a:gd name="T33" fmla="*/ 8 h 25"/>
                <a:gd name="T34" fmla="*/ 191 w 191"/>
                <a:gd name="T35" fmla="*/ 12 h 25"/>
                <a:gd name="T36" fmla="*/ 190 w 191"/>
                <a:gd name="T37" fmla="*/ 16 h 25"/>
                <a:gd name="T38" fmla="*/ 189 w 191"/>
                <a:gd name="T39" fmla="*/ 20 h 25"/>
                <a:gd name="T40" fmla="*/ 186 w 191"/>
                <a:gd name="T41" fmla="*/ 22 h 25"/>
                <a:gd name="T42" fmla="*/ 182 w 191"/>
                <a:gd name="T43" fmla="*/ 24 h 25"/>
                <a:gd name="T44" fmla="*/ 179 w 191"/>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25">
                  <a:moveTo>
                    <a:pt x="179" y="25"/>
                  </a:moveTo>
                  <a:lnTo>
                    <a:pt x="13" y="25"/>
                  </a:lnTo>
                  <a:lnTo>
                    <a:pt x="9" y="24"/>
                  </a:lnTo>
                  <a:lnTo>
                    <a:pt x="5" y="22"/>
                  </a:lnTo>
                  <a:lnTo>
                    <a:pt x="3" y="20"/>
                  </a:lnTo>
                  <a:lnTo>
                    <a:pt x="1" y="16"/>
                  </a:lnTo>
                  <a:lnTo>
                    <a:pt x="0" y="12"/>
                  </a:lnTo>
                  <a:lnTo>
                    <a:pt x="1" y="8"/>
                  </a:lnTo>
                  <a:lnTo>
                    <a:pt x="3" y="5"/>
                  </a:lnTo>
                  <a:lnTo>
                    <a:pt x="5" y="2"/>
                  </a:lnTo>
                  <a:lnTo>
                    <a:pt x="9" y="1"/>
                  </a:lnTo>
                  <a:lnTo>
                    <a:pt x="13" y="0"/>
                  </a:lnTo>
                  <a:lnTo>
                    <a:pt x="179" y="0"/>
                  </a:lnTo>
                  <a:lnTo>
                    <a:pt x="182" y="1"/>
                  </a:lnTo>
                  <a:lnTo>
                    <a:pt x="186" y="2"/>
                  </a:lnTo>
                  <a:lnTo>
                    <a:pt x="189" y="5"/>
                  </a:lnTo>
                  <a:lnTo>
                    <a:pt x="190" y="8"/>
                  </a:lnTo>
                  <a:lnTo>
                    <a:pt x="191" y="12"/>
                  </a:lnTo>
                  <a:lnTo>
                    <a:pt x="190" y="16"/>
                  </a:lnTo>
                  <a:lnTo>
                    <a:pt x="189" y="20"/>
                  </a:lnTo>
                  <a:lnTo>
                    <a:pt x="186" y="22"/>
                  </a:lnTo>
                  <a:lnTo>
                    <a:pt x="182" y="24"/>
                  </a:lnTo>
                  <a:lnTo>
                    <a:pt x="179"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6" name="Freeform 1965">
              <a:extLst>
                <a:ext uri="{FF2B5EF4-FFF2-40B4-BE49-F238E27FC236}">
                  <a16:creationId xmlns:a16="http://schemas.microsoft.com/office/drawing/2014/main" id="{3419DA4A-4B31-48E9-BC52-9E0E66D5131C}"/>
                </a:ext>
              </a:extLst>
            </p:cNvPr>
            <p:cNvSpPr>
              <a:spLocks/>
            </p:cNvSpPr>
            <p:nvPr/>
          </p:nvSpPr>
          <p:spPr bwMode="auto">
            <a:xfrm>
              <a:off x="3632201" y="5729288"/>
              <a:ext cx="180975" cy="39688"/>
            </a:xfrm>
            <a:custGeom>
              <a:avLst/>
              <a:gdLst>
                <a:gd name="T0" fmla="*/ 101 w 114"/>
                <a:gd name="T1" fmla="*/ 25 h 25"/>
                <a:gd name="T2" fmla="*/ 13 w 114"/>
                <a:gd name="T3" fmla="*/ 25 h 25"/>
                <a:gd name="T4" fmla="*/ 9 w 114"/>
                <a:gd name="T5" fmla="*/ 24 h 25"/>
                <a:gd name="T6" fmla="*/ 5 w 114"/>
                <a:gd name="T7" fmla="*/ 22 h 25"/>
                <a:gd name="T8" fmla="*/ 3 w 114"/>
                <a:gd name="T9" fmla="*/ 19 h 25"/>
                <a:gd name="T10" fmla="*/ 1 w 114"/>
                <a:gd name="T11" fmla="*/ 16 h 25"/>
                <a:gd name="T12" fmla="*/ 0 w 114"/>
                <a:gd name="T13" fmla="*/ 12 h 25"/>
                <a:gd name="T14" fmla="*/ 1 w 114"/>
                <a:gd name="T15" fmla="*/ 8 h 25"/>
                <a:gd name="T16" fmla="*/ 3 w 114"/>
                <a:gd name="T17" fmla="*/ 5 h 25"/>
                <a:gd name="T18" fmla="*/ 5 w 114"/>
                <a:gd name="T19" fmla="*/ 2 h 25"/>
                <a:gd name="T20" fmla="*/ 9 w 114"/>
                <a:gd name="T21" fmla="*/ 0 h 25"/>
                <a:gd name="T22" fmla="*/ 13 w 114"/>
                <a:gd name="T23" fmla="*/ 0 h 25"/>
                <a:gd name="T24" fmla="*/ 101 w 114"/>
                <a:gd name="T25" fmla="*/ 0 h 25"/>
                <a:gd name="T26" fmla="*/ 105 w 114"/>
                <a:gd name="T27" fmla="*/ 0 h 25"/>
                <a:gd name="T28" fmla="*/ 109 w 114"/>
                <a:gd name="T29" fmla="*/ 2 h 25"/>
                <a:gd name="T30" fmla="*/ 111 w 114"/>
                <a:gd name="T31" fmla="*/ 5 h 25"/>
                <a:gd name="T32" fmla="*/ 113 w 114"/>
                <a:gd name="T33" fmla="*/ 8 h 25"/>
                <a:gd name="T34" fmla="*/ 114 w 114"/>
                <a:gd name="T35" fmla="*/ 12 h 25"/>
                <a:gd name="T36" fmla="*/ 113 w 114"/>
                <a:gd name="T37" fmla="*/ 16 h 25"/>
                <a:gd name="T38" fmla="*/ 111 w 114"/>
                <a:gd name="T39" fmla="*/ 19 h 25"/>
                <a:gd name="T40" fmla="*/ 109 w 114"/>
                <a:gd name="T41" fmla="*/ 22 h 25"/>
                <a:gd name="T42" fmla="*/ 105 w 114"/>
                <a:gd name="T43" fmla="*/ 24 h 25"/>
                <a:gd name="T44" fmla="*/ 101 w 114"/>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25">
                  <a:moveTo>
                    <a:pt x="101" y="25"/>
                  </a:moveTo>
                  <a:lnTo>
                    <a:pt x="13" y="25"/>
                  </a:lnTo>
                  <a:lnTo>
                    <a:pt x="9" y="24"/>
                  </a:lnTo>
                  <a:lnTo>
                    <a:pt x="5" y="22"/>
                  </a:lnTo>
                  <a:lnTo>
                    <a:pt x="3" y="19"/>
                  </a:lnTo>
                  <a:lnTo>
                    <a:pt x="1" y="16"/>
                  </a:lnTo>
                  <a:lnTo>
                    <a:pt x="0" y="12"/>
                  </a:lnTo>
                  <a:lnTo>
                    <a:pt x="1" y="8"/>
                  </a:lnTo>
                  <a:lnTo>
                    <a:pt x="3" y="5"/>
                  </a:lnTo>
                  <a:lnTo>
                    <a:pt x="5" y="2"/>
                  </a:lnTo>
                  <a:lnTo>
                    <a:pt x="9" y="0"/>
                  </a:lnTo>
                  <a:lnTo>
                    <a:pt x="13" y="0"/>
                  </a:lnTo>
                  <a:lnTo>
                    <a:pt x="101" y="0"/>
                  </a:lnTo>
                  <a:lnTo>
                    <a:pt x="105" y="0"/>
                  </a:lnTo>
                  <a:lnTo>
                    <a:pt x="109" y="2"/>
                  </a:lnTo>
                  <a:lnTo>
                    <a:pt x="111" y="5"/>
                  </a:lnTo>
                  <a:lnTo>
                    <a:pt x="113" y="8"/>
                  </a:lnTo>
                  <a:lnTo>
                    <a:pt x="114" y="12"/>
                  </a:lnTo>
                  <a:lnTo>
                    <a:pt x="113" y="16"/>
                  </a:lnTo>
                  <a:lnTo>
                    <a:pt x="111" y="19"/>
                  </a:lnTo>
                  <a:lnTo>
                    <a:pt x="109" y="22"/>
                  </a:lnTo>
                  <a:lnTo>
                    <a:pt x="105" y="24"/>
                  </a:lnTo>
                  <a:lnTo>
                    <a:pt x="101"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7" name="Freeform 1966">
              <a:extLst>
                <a:ext uri="{FF2B5EF4-FFF2-40B4-BE49-F238E27FC236}">
                  <a16:creationId xmlns:a16="http://schemas.microsoft.com/office/drawing/2014/main" id="{9ABBF52F-61BC-4EE1-9FFA-2E78E05C7A3E}"/>
                </a:ext>
              </a:extLst>
            </p:cNvPr>
            <p:cNvSpPr>
              <a:spLocks/>
            </p:cNvSpPr>
            <p:nvPr/>
          </p:nvSpPr>
          <p:spPr bwMode="auto">
            <a:xfrm>
              <a:off x="3632201" y="5802313"/>
              <a:ext cx="298450" cy="39688"/>
            </a:xfrm>
            <a:custGeom>
              <a:avLst/>
              <a:gdLst>
                <a:gd name="T0" fmla="*/ 175 w 188"/>
                <a:gd name="T1" fmla="*/ 25 h 25"/>
                <a:gd name="T2" fmla="*/ 13 w 188"/>
                <a:gd name="T3" fmla="*/ 25 h 25"/>
                <a:gd name="T4" fmla="*/ 9 w 188"/>
                <a:gd name="T5" fmla="*/ 24 h 25"/>
                <a:gd name="T6" fmla="*/ 5 w 188"/>
                <a:gd name="T7" fmla="*/ 22 h 25"/>
                <a:gd name="T8" fmla="*/ 3 w 188"/>
                <a:gd name="T9" fmla="*/ 20 h 25"/>
                <a:gd name="T10" fmla="*/ 1 w 188"/>
                <a:gd name="T11" fmla="*/ 16 h 25"/>
                <a:gd name="T12" fmla="*/ 0 w 188"/>
                <a:gd name="T13" fmla="*/ 12 h 25"/>
                <a:gd name="T14" fmla="*/ 1 w 188"/>
                <a:gd name="T15" fmla="*/ 8 h 25"/>
                <a:gd name="T16" fmla="*/ 3 w 188"/>
                <a:gd name="T17" fmla="*/ 5 h 25"/>
                <a:gd name="T18" fmla="*/ 5 w 188"/>
                <a:gd name="T19" fmla="*/ 2 h 25"/>
                <a:gd name="T20" fmla="*/ 9 w 188"/>
                <a:gd name="T21" fmla="*/ 0 h 25"/>
                <a:gd name="T22" fmla="*/ 13 w 188"/>
                <a:gd name="T23" fmla="*/ 0 h 25"/>
                <a:gd name="T24" fmla="*/ 175 w 188"/>
                <a:gd name="T25" fmla="*/ 0 h 25"/>
                <a:gd name="T26" fmla="*/ 179 w 188"/>
                <a:gd name="T27" fmla="*/ 0 h 25"/>
                <a:gd name="T28" fmla="*/ 183 w 188"/>
                <a:gd name="T29" fmla="*/ 2 h 25"/>
                <a:gd name="T30" fmla="*/ 185 w 188"/>
                <a:gd name="T31" fmla="*/ 5 h 25"/>
                <a:gd name="T32" fmla="*/ 187 w 188"/>
                <a:gd name="T33" fmla="*/ 8 h 25"/>
                <a:gd name="T34" fmla="*/ 188 w 188"/>
                <a:gd name="T35" fmla="*/ 12 h 25"/>
                <a:gd name="T36" fmla="*/ 187 w 188"/>
                <a:gd name="T37" fmla="*/ 16 h 25"/>
                <a:gd name="T38" fmla="*/ 185 w 188"/>
                <a:gd name="T39" fmla="*/ 20 h 25"/>
                <a:gd name="T40" fmla="*/ 183 w 188"/>
                <a:gd name="T41" fmla="*/ 22 h 25"/>
                <a:gd name="T42" fmla="*/ 179 w 188"/>
                <a:gd name="T43" fmla="*/ 24 h 25"/>
                <a:gd name="T44" fmla="*/ 175 w 188"/>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8" h="25">
                  <a:moveTo>
                    <a:pt x="175" y="25"/>
                  </a:moveTo>
                  <a:lnTo>
                    <a:pt x="13" y="25"/>
                  </a:lnTo>
                  <a:lnTo>
                    <a:pt x="9" y="24"/>
                  </a:lnTo>
                  <a:lnTo>
                    <a:pt x="5" y="22"/>
                  </a:lnTo>
                  <a:lnTo>
                    <a:pt x="3" y="20"/>
                  </a:lnTo>
                  <a:lnTo>
                    <a:pt x="1" y="16"/>
                  </a:lnTo>
                  <a:lnTo>
                    <a:pt x="0" y="12"/>
                  </a:lnTo>
                  <a:lnTo>
                    <a:pt x="1" y="8"/>
                  </a:lnTo>
                  <a:lnTo>
                    <a:pt x="3" y="5"/>
                  </a:lnTo>
                  <a:lnTo>
                    <a:pt x="5" y="2"/>
                  </a:lnTo>
                  <a:lnTo>
                    <a:pt x="9" y="0"/>
                  </a:lnTo>
                  <a:lnTo>
                    <a:pt x="13" y="0"/>
                  </a:lnTo>
                  <a:lnTo>
                    <a:pt x="175" y="0"/>
                  </a:lnTo>
                  <a:lnTo>
                    <a:pt x="179" y="0"/>
                  </a:lnTo>
                  <a:lnTo>
                    <a:pt x="183" y="2"/>
                  </a:lnTo>
                  <a:lnTo>
                    <a:pt x="185" y="5"/>
                  </a:lnTo>
                  <a:lnTo>
                    <a:pt x="187" y="8"/>
                  </a:lnTo>
                  <a:lnTo>
                    <a:pt x="188" y="12"/>
                  </a:lnTo>
                  <a:lnTo>
                    <a:pt x="187" y="16"/>
                  </a:lnTo>
                  <a:lnTo>
                    <a:pt x="185" y="20"/>
                  </a:lnTo>
                  <a:lnTo>
                    <a:pt x="183" y="22"/>
                  </a:lnTo>
                  <a:lnTo>
                    <a:pt x="179" y="24"/>
                  </a:lnTo>
                  <a:lnTo>
                    <a:pt x="17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grpSp>
      <p:pic>
        <p:nvPicPr>
          <p:cNvPr id="38" name="Picture 37">
            <a:extLst>
              <a:ext uri="{FF2B5EF4-FFF2-40B4-BE49-F238E27FC236}">
                <a16:creationId xmlns:a16="http://schemas.microsoft.com/office/drawing/2014/main" id="{C8A5773A-F091-45EC-B52F-4C064A38775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1521" y="1073595"/>
            <a:ext cx="3524245" cy="681823"/>
          </a:xfrm>
          <a:prstGeom prst="rect">
            <a:avLst/>
          </a:prstGeom>
        </p:spPr>
      </p:pic>
      <p:sp>
        <p:nvSpPr>
          <p:cNvPr id="39" name="TextBox 38">
            <a:extLst>
              <a:ext uri="{FF2B5EF4-FFF2-40B4-BE49-F238E27FC236}">
                <a16:creationId xmlns:a16="http://schemas.microsoft.com/office/drawing/2014/main" id="{F8252CBF-8796-4E79-A5CD-E654FFC74729}"/>
              </a:ext>
            </a:extLst>
          </p:cNvPr>
          <p:cNvSpPr txBox="1"/>
          <p:nvPr/>
        </p:nvSpPr>
        <p:spPr>
          <a:xfrm>
            <a:off x="1685544" y="1106941"/>
            <a:ext cx="1605995" cy="3600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Description</a:t>
            </a:r>
            <a:endParaRPr lang="en-US" sz="1800">
              <a:solidFill>
                <a:srgbClr val="717074"/>
              </a:solidFill>
            </a:endParaRPr>
          </a:p>
        </p:txBody>
      </p:sp>
      <p:pic>
        <p:nvPicPr>
          <p:cNvPr id="47" name="Picture 46">
            <a:extLst>
              <a:ext uri="{FF2B5EF4-FFF2-40B4-BE49-F238E27FC236}">
                <a16:creationId xmlns:a16="http://schemas.microsoft.com/office/drawing/2014/main" id="{ED52F3BC-37C9-4E4B-8F67-44C2A735708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6675" y="2372986"/>
            <a:ext cx="3459091" cy="502371"/>
          </a:xfrm>
          <a:prstGeom prst="rect">
            <a:avLst/>
          </a:prstGeom>
        </p:spPr>
      </p:pic>
      <p:sp>
        <p:nvSpPr>
          <p:cNvPr id="49" name="TextBox 48">
            <a:extLst>
              <a:ext uri="{FF2B5EF4-FFF2-40B4-BE49-F238E27FC236}">
                <a16:creationId xmlns:a16="http://schemas.microsoft.com/office/drawing/2014/main" id="{11EED3F2-4C11-48B6-8F1F-03EBA6B44D2A}"/>
              </a:ext>
            </a:extLst>
          </p:cNvPr>
          <p:cNvSpPr txBox="1"/>
          <p:nvPr/>
        </p:nvSpPr>
        <p:spPr>
          <a:xfrm>
            <a:off x="1068868" y="2457296"/>
            <a:ext cx="1605995" cy="304800"/>
          </a:xfrm>
          <a:prstGeom prst="rect">
            <a:avLst/>
          </a:prstGeom>
          <a:noFill/>
        </p:spPr>
        <p:txBody>
          <a:bodyPr wrap="none" lIns="0" tIns="0" rIns="0" bIns="0" rtlCol="0" anchor="ctr">
            <a:noAutofit/>
          </a:bodyPr>
          <a:lstStyle>
            <a:defPPr>
              <a:defRPr lang="en-US"/>
            </a:defPPr>
            <a:lvl1pPr lvl="0" indent="92075" eaLnBrk="0" fontAlgn="base" hangingPunct="0">
              <a:spcBef>
                <a:spcPts val="400"/>
              </a:spcBef>
              <a:spcAft>
                <a:spcPts val="900"/>
              </a:spcAft>
              <a:defRPr sz="1200" b="1">
                <a:solidFill>
                  <a:prstClr val="white"/>
                </a:solidFill>
                <a:ea typeface="Verdana" panose="020B0604030504040204" pitchFamily="34" charset="0"/>
                <a:cs typeface="Verdana" panose="020B0604030504040204" pitchFamily="34" charset="0"/>
              </a:defRPr>
            </a:lvl1pPr>
          </a:lstStyle>
          <a:p>
            <a:pPr defTabSz="914400"/>
            <a:r>
              <a:rPr lang="en-AU" altLang="en-US"/>
              <a:t>Audience</a:t>
            </a:r>
            <a:endParaRPr lang="en-US"/>
          </a:p>
        </p:txBody>
      </p:sp>
      <p:pic>
        <p:nvPicPr>
          <p:cNvPr id="50" name="Picture 49">
            <a:extLst>
              <a:ext uri="{FF2B5EF4-FFF2-40B4-BE49-F238E27FC236}">
                <a16:creationId xmlns:a16="http://schemas.microsoft.com/office/drawing/2014/main" id="{6E014DCD-5027-40BE-9472-E3814C21CC1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6675" y="3254723"/>
            <a:ext cx="3459091" cy="502371"/>
          </a:xfrm>
          <a:prstGeom prst="rect">
            <a:avLst/>
          </a:prstGeom>
        </p:spPr>
      </p:pic>
      <p:sp>
        <p:nvSpPr>
          <p:cNvPr id="60" name="TextBox 59">
            <a:extLst>
              <a:ext uri="{FF2B5EF4-FFF2-40B4-BE49-F238E27FC236}">
                <a16:creationId xmlns:a16="http://schemas.microsoft.com/office/drawing/2014/main" id="{4851E232-9A08-418A-B4CC-176E17A6570C}"/>
              </a:ext>
            </a:extLst>
          </p:cNvPr>
          <p:cNvSpPr txBox="1"/>
          <p:nvPr/>
        </p:nvSpPr>
        <p:spPr>
          <a:xfrm>
            <a:off x="1027019" y="3349462"/>
            <a:ext cx="1605995" cy="3048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Prerequisites</a:t>
            </a:r>
          </a:p>
        </p:txBody>
      </p:sp>
      <p:pic>
        <p:nvPicPr>
          <p:cNvPr id="70" name="Picture 69">
            <a:extLst>
              <a:ext uri="{FF2B5EF4-FFF2-40B4-BE49-F238E27FC236}">
                <a16:creationId xmlns:a16="http://schemas.microsoft.com/office/drawing/2014/main" id="{AF56B7E6-43E1-4250-B66D-D347CDCD011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2540" y="4163015"/>
            <a:ext cx="3459091" cy="502371"/>
          </a:xfrm>
          <a:prstGeom prst="rect">
            <a:avLst/>
          </a:prstGeom>
        </p:spPr>
      </p:pic>
      <p:sp>
        <p:nvSpPr>
          <p:cNvPr id="71" name="TextBox 70">
            <a:extLst>
              <a:ext uri="{FF2B5EF4-FFF2-40B4-BE49-F238E27FC236}">
                <a16:creationId xmlns:a16="http://schemas.microsoft.com/office/drawing/2014/main" id="{162FFDF4-28D7-4DB8-A796-D646E5B6FE41}"/>
              </a:ext>
            </a:extLst>
          </p:cNvPr>
          <p:cNvSpPr txBox="1"/>
          <p:nvPr/>
        </p:nvSpPr>
        <p:spPr>
          <a:xfrm>
            <a:off x="1001936" y="4217642"/>
            <a:ext cx="1605995" cy="3600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Overview</a:t>
            </a:r>
          </a:p>
        </p:txBody>
      </p:sp>
      <p:sp>
        <p:nvSpPr>
          <p:cNvPr id="75" name="Rectangle 74">
            <a:extLst>
              <a:ext uri="{FF2B5EF4-FFF2-40B4-BE49-F238E27FC236}">
                <a16:creationId xmlns:a16="http://schemas.microsoft.com/office/drawing/2014/main" id="{7549D3A6-61C2-4EC2-A2EE-A17119E59DB6}"/>
              </a:ext>
            </a:extLst>
          </p:cNvPr>
          <p:cNvSpPr/>
          <p:nvPr/>
        </p:nvSpPr>
        <p:spPr>
          <a:xfrm>
            <a:off x="334347" y="4665386"/>
            <a:ext cx="3500247" cy="1785104"/>
          </a:xfrm>
          <a:prstGeom prst="rect">
            <a:avLst/>
          </a:prstGeom>
        </p:spPr>
        <p:txBody>
          <a:bodyPr wrap="square" anchor="t">
            <a:spAutoFit/>
          </a:bodyPr>
          <a:lstStyle/>
          <a:p>
            <a:pPr defTabSz="914400"/>
            <a:r>
              <a:rPr lang="de-DE" sz="1100" b="1"/>
              <a:t>Context</a:t>
            </a:r>
          </a:p>
          <a:p>
            <a:pPr defTabSz="914400"/>
            <a:endParaRPr lang="en-US" sz="1100">
              <a:ea typeface="ＭＳ Ｐゴシック" pitchFamily="34" charset="-128"/>
            </a:endParaRPr>
          </a:p>
          <a:p>
            <a:pPr defTabSz="914400"/>
            <a:r>
              <a:rPr lang="en-US" sz="1100">
                <a:ea typeface="ＭＳ Ｐゴシック" pitchFamily="34" charset="-128"/>
              </a:rPr>
              <a:t>Knowledge Base Articles (KBAs) and SAP Notes are the most used knowledge sources to store and share information in the structured way with both internal and external customers. KBAs and SAP Notes can be created via any type of records and they are used for self-help and task resolution. KBAs are commonly used for cloud solutions while SAP Notes mostly for on-premise products.</a:t>
            </a:r>
            <a:endParaRPr lang="en-US" sz="1100">
              <a:ea typeface="ＭＳ Ｐゴシック" pitchFamily="34" charset="-128"/>
              <a:cs typeface="Arial"/>
            </a:endParaRPr>
          </a:p>
        </p:txBody>
      </p:sp>
      <p:grpSp>
        <p:nvGrpSpPr>
          <p:cNvPr id="83" name="Group 82">
            <a:extLst>
              <a:ext uri="{FF2B5EF4-FFF2-40B4-BE49-F238E27FC236}">
                <a16:creationId xmlns:a16="http://schemas.microsoft.com/office/drawing/2014/main" id="{055F843A-E40F-42FD-AAE4-9FF10C8BA25E}"/>
              </a:ext>
            </a:extLst>
          </p:cNvPr>
          <p:cNvGrpSpPr/>
          <p:nvPr/>
        </p:nvGrpSpPr>
        <p:grpSpPr>
          <a:xfrm>
            <a:off x="4266232" y="1040912"/>
            <a:ext cx="3530229" cy="555279"/>
            <a:chOff x="3150020" y="633645"/>
            <a:chExt cx="3032760" cy="555279"/>
          </a:xfrm>
        </p:grpSpPr>
        <p:sp>
          <p:nvSpPr>
            <p:cNvPr id="84" name="Rectangle 83">
              <a:extLst>
                <a:ext uri="{FF2B5EF4-FFF2-40B4-BE49-F238E27FC236}">
                  <a16:creationId xmlns:a16="http://schemas.microsoft.com/office/drawing/2014/main" id="{A6620758-1DE2-4EE5-BB9F-C0F6C1790E6E}"/>
                </a:ext>
              </a:extLst>
            </p:cNvPr>
            <p:cNvSpPr/>
            <p:nvPr/>
          </p:nvSpPr>
          <p:spPr bwMode="gray">
            <a:xfrm>
              <a:off x="3150020" y="633645"/>
              <a:ext cx="3032760" cy="45719"/>
            </a:xfrm>
            <a:prstGeom prst="rect">
              <a:avLst/>
            </a:prstGeom>
            <a:solidFill>
              <a:srgbClr val="FBB24B"/>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85" name="Rectangle 84">
              <a:extLst>
                <a:ext uri="{FF2B5EF4-FFF2-40B4-BE49-F238E27FC236}">
                  <a16:creationId xmlns:a16="http://schemas.microsoft.com/office/drawing/2014/main" id="{4B14670A-17F5-43F2-9C32-2629582A43F0}"/>
                </a:ext>
              </a:extLst>
            </p:cNvPr>
            <p:cNvSpPr/>
            <p:nvPr/>
          </p:nvSpPr>
          <p:spPr bwMode="gray">
            <a:xfrm flipV="1">
              <a:off x="3150020" y="679364"/>
              <a:ext cx="3032760" cy="457200"/>
            </a:xfrm>
            <a:prstGeom prst="rect">
              <a:avLst/>
            </a:prstGeom>
            <a:solidFill>
              <a:srgbClr val="0095D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86" name="TextBox 85">
              <a:extLst>
                <a:ext uri="{FF2B5EF4-FFF2-40B4-BE49-F238E27FC236}">
                  <a16:creationId xmlns:a16="http://schemas.microsoft.com/office/drawing/2014/main" id="{5A878B44-0C9A-43D2-84F3-8B894F6DD98E}"/>
                </a:ext>
              </a:extLst>
            </p:cNvPr>
            <p:cNvSpPr txBox="1"/>
            <p:nvPr/>
          </p:nvSpPr>
          <p:spPr>
            <a:xfrm>
              <a:off x="4014614" y="715635"/>
              <a:ext cx="1371600" cy="360000"/>
            </a:xfrm>
            <a:prstGeom prst="rect">
              <a:avLst/>
            </a:prstGeom>
            <a:noFill/>
          </p:spPr>
          <p:txBody>
            <a:bodyPr wrap="none" lIns="0" tIns="0" rIns="0" bIns="0" rtlCol="0" anchor="ctr">
              <a:noAutofit/>
            </a:bodyPr>
            <a:lstStyle/>
            <a:p>
              <a:pPr lvl="0" indent="92075"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Explanation &amp; Related Terms</a:t>
              </a:r>
            </a:p>
          </p:txBody>
        </p:sp>
        <p:sp>
          <p:nvSpPr>
            <p:cNvPr id="87" name="Isosceles Triangle 86">
              <a:extLst>
                <a:ext uri="{FF2B5EF4-FFF2-40B4-BE49-F238E27FC236}">
                  <a16:creationId xmlns:a16="http://schemas.microsoft.com/office/drawing/2014/main" id="{A07BD9D9-F4B5-4771-8519-1F26B6EE2CEF}"/>
                </a:ext>
              </a:extLst>
            </p:cNvPr>
            <p:cNvSpPr/>
            <p:nvPr/>
          </p:nvSpPr>
          <p:spPr>
            <a:xfrm flipV="1">
              <a:off x="5785619" y="984544"/>
              <a:ext cx="396938" cy="204380"/>
            </a:xfrm>
            <a:prstGeom prst="triangle">
              <a:avLst/>
            </a:prstGeom>
            <a:solidFill>
              <a:srgbClr val="0095D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99" name="Illustration" descr="Example of an illustration" title="Illustration for title slide">
            <a:extLst>
              <a:ext uri="{FF2B5EF4-FFF2-40B4-BE49-F238E27FC236}">
                <a16:creationId xmlns:a16="http://schemas.microsoft.com/office/drawing/2014/main" id="{8F1690E4-F0A3-432F-A8C5-ADFF9F911587}"/>
              </a:ext>
            </a:extLst>
          </p:cNvPr>
          <p:cNvPicPr>
            <a:picLocks noChangeAspect="1"/>
          </p:cNvPicPr>
          <p:nvPr/>
        </p:nvPicPr>
        <p:blipFill rotWithShape="1">
          <a:blip r:embed="rId10"/>
          <a:srcRect l="70221" t="59532" r="26482" b="26655"/>
          <a:stretch/>
        </p:blipFill>
        <p:spPr bwMode="gray">
          <a:xfrm>
            <a:off x="1238797" y="1025071"/>
            <a:ext cx="413965" cy="449277"/>
          </a:xfrm>
          <a:prstGeom prst="rect">
            <a:avLst/>
          </a:prstGeom>
          <a:noFill/>
        </p:spPr>
      </p:pic>
      <p:pic>
        <p:nvPicPr>
          <p:cNvPr id="100" name="Picture 99">
            <a:extLst>
              <a:ext uri="{FF2B5EF4-FFF2-40B4-BE49-F238E27FC236}">
                <a16:creationId xmlns:a16="http://schemas.microsoft.com/office/drawing/2014/main" id="{60765153-FD05-41F0-AEC1-D721534E38E4}"/>
              </a:ext>
            </a:extLst>
          </p:cNvPr>
          <p:cNvPicPr>
            <a:picLocks noChangeAspect="1"/>
          </p:cNvPicPr>
          <p:nvPr/>
        </p:nvPicPr>
        <p:blipFill>
          <a:blip r:embed="rId11"/>
          <a:stretch>
            <a:fillRect/>
          </a:stretch>
        </p:blipFill>
        <p:spPr>
          <a:xfrm>
            <a:off x="4245847" y="756444"/>
            <a:ext cx="1104390" cy="1104390"/>
          </a:xfrm>
          <a:prstGeom prst="rect">
            <a:avLst/>
          </a:prstGeom>
        </p:spPr>
      </p:pic>
      <p:pic>
        <p:nvPicPr>
          <p:cNvPr id="105" name="Picture 76">
            <a:extLst>
              <a:ext uri="{FF2B5EF4-FFF2-40B4-BE49-F238E27FC236}">
                <a16:creationId xmlns:a16="http://schemas.microsoft.com/office/drawing/2014/main" id="{17CAE407-ED69-42F8-A569-6816A5847D7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391457" y="3146375"/>
            <a:ext cx="675418" cy="675418"/>
          </a:xfrm>
          <a:prstGeom prst="rect">
            <a:avLst/>
          </a:prstGeom>
        </p:spPr>
      </p:pic>
      <p:pic>
        <p:nvPicPr>
          <p:cNvPr id="106" name="Picture 105">
            <a:extLst>
              <a:ext uri="{FF2B5EF4-FFF2-40B4-BE49-F238E27FC236}">
                <a16:creationId xmlns:a16="http://schemas.microsoft.com/office/drawing/2014/main" id="{16D3741E-9674-4F69-B92E-84206CF0A9DE}"/>
              </a:ext>
            </a:extLst>
          </p:cNvPr>
          <p:cNvPicPr>
            <a:picLocks noChangeAspect="1"/>
          </p:cNvPicPr>
          <p:nvPr/>
        </p:nvPicPr>
        <p:blipFill>
          <a:blip r:embed="rId13"/>
          <a:stretch>
            <a:fillRect/>
          </a:stretch>
        </p:blipFill>
        <p:spPr>
          <a:xfrm>
            <a:off x="369657" y="4094766"/>
            <a:ext cx="666403" cy="636330"/>
          </a:xfrm>
          <a:prstGeom prst="rect">
            <a:avLst/>
          </a:prstGeom>
        </p:spPr>
      </p:pic>
      <p:grpSp>
        <p:nvGrpSpPr>
          <p:cNvPr id="107" name="Group 5">
            <a:extLst>
              <a:ext uri="{FF2B5EF4-FFF2-40B4-BE49-F238E27FC236}">
                <a16:creationId xmlns:a16="http://schemas.microsoft.com/office/drawing/2014/main" id="{F7B1E092-42EE-4B98-BE93-5060B09B0E56}"/>
              </a:ext>
            </a:extLst>
          </p:cNvPr>
          <p:cNvGrpSpPr>
            <a:grpSpLocks noChangeAspect="1"/>
          </p:cNvGrpSpPr>
          <p:nvPr/>
        </p:nvGrpSpPr>
        <p:grpSpPr bwMode="auto">
          <a:xfrm>
            <a:off x="453198" y="2444823"/>
            <a:ext cx="423854" cy="356441"/>
            <a:chOff x="471" y="958"/>
            <a:chExt cx="269" cy="265"/>
          </a:xfrm>
          <a:solidFill>
            <a:schemeClr val="accent1"/>
          </a:solidFill>
        </p:grpSpPr>
        <p:sp>
          <p:nvSpPr>
            <p:cNvPr id="108" name="Freeform 6">
              <a:extLst>
                <a:ext uri="{FF2B5EF4-FFF2-40B4-BE49-F238E27FC236}">
                  <a16:creationId xmlns:a16="http://schemas.microsoft.com/office/drawing/2014/main" id="{54B29DB9-39DA-4152-A637-8F597DD26ED0}"/>
                </a:ext>
              </a:extLst>
            </p:cNvPr>
            <p:cNvSpPr>
              <a:spLocks noEditPoints="1"/>
            </p:cNvSpPr>
            <p:nvPr/>
          </p:nvSpPr>
          <p:spPr bwMode="auto">
            <a:xfrm>
              <a:off x="471" y="1096"/>
              <a:ext cx="269" cy="127"/>
            </a:xfrm>
            <a:custGeom>
              <a:avLst/>
              <a:gdLst>
                <a:gd name="T0" fmla="*/ 793 w 1586"/>
                <a:gd name="T1" fmla="*/ 55 h 746"/>
                <a:gd name="T2" fmla="*/ 975 w 1586"/>
                <a:gd name="T3" fmla="*/ 245 h 746"/>
                <a:gd name="T4" fmla="*/ 1095 w 1586"/>
                <a:gd name="T5" fmla="*/ 0 h 746"/>
                <a:gd name="T6" fmla="*/ 1333 w 1586"/>
                <a:gd name="T7" fmla="*/ 81 h 746"/>
                <a:gd name="T8" fmla="*/ 1458 w 1586"/>
                <a:gd name="T9" fmla="*/ 155 h 746"/>
                <a:gd name="T10" fmla="*/ 1519 w 1586"/>
                <a:gd name="T11" fmla="*/ 234 h 746"/>
                <a:gd name="T12" fmla="*/ 1568 w 1586"/>
                <a:gd name="T13" fmla="*/ 508 h 746"/>
                <a:gd name="T14" fmla="*/ 1586 w 1586"/>
                <a:gd name="T15" fmla="*/ 746 h 746"/>
                <a:gd name="T16" fmla="*/ 1302 w 1586"/>
                <a:gd name="T17" fmla="*/ 746 h 746"/>
                <a:gd name="T18" fmla="*/ 1299 w 1586"/>
                <a:gd name="T19" fmla="*/ 592 h 746"/>
                <a:gd name="T20" fmla="*/ 1201 w 1586"/>
                <a:gd name="T21" fmla="*/ 592 h 746"/>
                <a:gd name="T22" fmla="*/ 1201 w 1586"/>
                <a:gd name="T23" fmla="*/ 746 h 746"/>
                <a:gd name="T24" fmla="*/ 385 w 1586"/>
                <a:gd name="T25" fmla="*/ 746 h 746"/>
                <a:gd name="T26" fmla="*/ 385 w 1586"/>
                <a:gd name="T27" fmla="*/ 592 h 746"/>
                <a:gd name="T28" fmla="*/ 287 w 1586"/>
                <a:gd name="T29" fmla="*/ 592 h 746"/>
                <a:gd name="T30" fmla="*/ 285 w 1586"/>
                <a:gd name="T31" fmla="*/ 746 h 746"/>
                <a:gd name="T32" fmla="*/ 0 w 1586"/>
                <a:gd name="T33" fmla="*/ 746 h 746"/>
                <a:gd name="T34" fmla="*/ 18 w 1586"/>
                <a:gd name="T35" fmla="*/ 508 h 746"/>
                <a:gd name="T36" fmla="*/ 67 w 1586"/>
                <a:gd name="T37" fmla="*/ 234 h 746"/>
                <a:gd name="T38" fmla="*/ 128 w 1586"/>
                <a:gd name="T39" fmla="*/ 155 h 746"/>
                <a:gd name="T40" fmla="*/ 253 w 1586"/>
                <a:gd name="T41" fmla="*/ 81 h 746"/>
                <a:gd name="T42" fmla="*/ 491 w 1586"/>
                <a:gd name="T43" fmla="*/ 0 h 746"/>
                <a:gd name="T44" fmla="*/ 612 w 1586"/>
                <a:gd name="T45" fmla="*/ 245 h 746"/>
                <a:gd name="T46" fmla="*/ 793 w 1586"/>
                <a:gd name="T47" fmla="*/ 55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86" h="746">
                  <a:moveTo>
                    <a:pt x="793" y="55"/>
                  </a:moveTo>
                  <a:cubicBezTo>
                    <a:pt x="854" y="118"/>
                    <a:pt x="914" y="182"/>
                    <a:pt x="975" y="245"/>
                  </a:cubicBezTo>
                  <a:cubicBezTo>
                    <a:pt x="1015" y="163"/>
                    <a:pt x="1055" y="82"/>
                    <a:pt x="1095" y="0"/>
                  </a:cubicBezTo>
                  <a:cubicBezTo>
                    <a:pt x="1183" y="27"/>
                    <a:pt x="1271" y="55"/>
                    <a:pt x="1333" y="81"/>
                  </a:cubicBezTo>
                  <a:cubicBezTo>
                    <a:pt x="1395" y="106"/>
                    <a:pt x="1431" y="131"/>
                    <a:pt x="1458" y="155"/>
                  </a:cubicBezTo>
                  <a:cubicBezTo>
                    <a:pt x="1485" y="179"/>
                    <a:pt x="1503" y="202"/>
                    <a:pt x="1519" y="234"/>
                  </a:cubicBezTo>
                  <a:cubicBezTo>
                    <a:pt x="1536" y="265"/>
                    <a:pt x="1550" y="305"/>
                    <a:pt x="1568" y="508"/>
                  </a:cubicBezTo>
                  <a:cubicBezTo>
                    <a:pt x="1574" y="573"/>
                    <a:pt x="1580" y="654"/>
                    <a:pt x="1586" y="746"/>
                  </a:cubicBezTo>
                  <a:moveTo>
                    <a:pt x="1302" y="746"/>
                  </a:moveTo>
                  <a:cubicBezTo>
                    <a:pt x="1301" y="695"/>
                    <a:pt x="1300" y="643"/>
                    <a:pt x="1299" y="592"/>
                  </a:cubicBezTo>
                  <a:cubicBezTo>
                    <a:pt x="1266" y="559"/>
                    <a:pt x="1233" y="561"/>
                    <a:pt x="1201" y="592"/>
                  </a:cubicBezTo>
                  <a:cubicBezTo>
                    <a:pt x="1201" y="643"/>
                    <a:pt x="1201" y="694"/>
                    <a:pt x="1201" y="746"/>
                  </a:cubicBezTo>
                  <a:moveTo>
                    <a:pt x="385" y="746"/>
                  </a:moveTo>
                  <a:cubicBezTo>
                    <a:pt x="385" y="694"/>
                    <a:pt x="385" y="643"/>
                    <a:pt x="385" y="592"/>
                  </a:cubicBezTo>
                  <a:cubicBezTo>
                    <a:pt x="352" y="561"/>
                    <a:pt x="320" y="557"/>
                    <a:pt x="287" y="592"/>
                  </a:cubicBezTo>
                  <a:cubicBezTo>
                    <a:pt x="286" y="643"/>
                    <a:pt x="286" y="695"/>
                    <a:pt x="285" y="746"/>
                  </a:cubicBezTo>
                  <a:moveTo>
                    <a:pt x="0" y="746"/>
                  </a:moveTo>
                  <a:cubicBezTo>
                    <a:pt x="6" y="654"/>
                    <a:pt x="12" y="573"/>
                    <a:pt x="18" y="508"/>
                  </a:cubicBezTo>
                  <a:cubicBezTo>
                    <a:pt x="36" y="305"/>
                    <a:pt x="50" y="265"/>
                    <a:pt x="67" y="234"/>
                  </a:cubicBezTo>
                  <a:cubicBezTo>
                    <a:pt x="83" y="202"/>
                    <a:pt x="101" y="179"/>
                    <a:pt x="128" y="155"/>
                  </a:cubicBezTo>
                  <a:cubicBezTo>
                    <a:pt x="155" y="131"/>
                    <a:pt x="191" y="106"/>
                    <a:pt x="253" y="81"/>
                  </a:cubicBezTo>
                  <a:cubicBezTo>
                    <a:pt x="315" y="55"/>
                    <a:pt x="403" y="27"/>
                    <a:pt x="491" y="0"/>
                  </a:cubicBezTo>
                  <a:cubicBezTo>
                    <a:pt x="531" y="82"/>
                    <a:pt x="571" y="163"/>
                    <a:pt x="612" y="245"/>
                  </a:cubicBezTo>
                  <a:cubicBezTo>
                    <a:pt x="672" y="182"/>
                    <a:pt x="733" y="118"/>
                    <a:pt x="793" y="55"/>
                  </a:cubicBezTo>
                </a:path>
              </a:pathLst>
            </a:custGeom>
            <a:grpFill/>
            <a:ln w="12700"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sp>
          <p:nvSpPr>
            <p:cNvPr id="109" name="Oval 7">
              <a:extLst>
                <a:ext uri="{FF2B5EF4-FFF2-40B4-BE49-F238E27FC236}">
                  <a16:creationId xmlns:a16="http://schemas.microsoft.com/office/drawing/2014/main" id="{50078655-C2F9-4ACE-A5E3-4C4DCD242528}"/>
                </a:ext>
              </a:extLst>
            </p:cNvPr>
            <p:cNvSpPr>
              <a:spLocks noChangeArrowheads="1"/>
            </p:cNvSpPr>
            <p:nvPr/>
          </p:nvSpPr>
          <p:spPr bwMode="auto">
            <a:xfrm>
              <a:off x="542" y="958"/>
              <a:ext cx="126" cy="126"/>
            </a:xfrm>
            <a:prstGeom prst="ellips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sp>
          <p:nvSpPr>
            <p:cNvPr id="110" name="Freeform 8">
              <a:extLst>
                <a:ext uri="{FF2B5EF4-FFF2-40B4-BE49-F238E27FC236}">
                  <a16:creationId xmlns:a16="http://schemas.microsoft.com/office/drawing/2014/main" id="{0EC97590-4640-42E8-9A2A-13F26EDEEA0C}"/>
                </a:ext>
              </a:extLst>
            </p:cNvPr>
            <p:cNvSpPr>
              <a:spLocks/>
            </p:cNvSpPr>
            <p:nvPr/>
          </p:nvSpPr>
          <p:spPr bwMode="auto">
            <a:xfrm>
              <a:off x="582" y="1131"/>
              <a:ext cx="46" cy="46"/>
            </a:xfrm>
            <a:custGeom>
              <a:avLst/>
              <a:gdLst>
                <a:gd name="T0" fmla="*/ 0 w 273"/>
                <a:gd name="T1" fmla="*/ 137 h 273"/>
                <a:gd name="T2" fmla="*/ 137 w 273"/>
                <a:gd name="T3" fmla="*/ 0 h 273"/>
                <a:gd name="T4" fmla="*/ 273 w 273"/>
                <a:gd name="T5" fmla="*/ 137 h 273"/>
                <a:gd name="T6" fmla="*/ 137 w 273"/>
                <a:gd name="T7" fmla="*/ 273 h 273"/>
                <a:gd name="T8" fmla="*/ 0 w 273"/>
                <a:gd name="T9" fmla="*/ 137 h 273"/>
              </a:gdLst>
              <a:ahLst/>
              <a:cxnLst>
                <a:cxn ang="0">
                  <a:pos x="T0" y="T1"/>
                </a:cxn>
                <a:cxn ang="0">
                  <a:pos x="T2" y="T3"/>
                </a:cxn>
                <a:cxn ang="0">
                  <a:pos x="T4" y="T5"/>
                </a:cxn>
                <a:cxn ang="0">
                  <a:pos x="T6" y="T7"/>
                </a:cxn>
                <a:cxn ang="0">
                  <a:pos x="T8" y="T9"/>
                </a:cxn>
              </a:cxnLst>
              <a:rect l="0" t="0" r="r" b="b"/>
              <a:pathLst>
                <a:path w="273" h="273">
                  <a:moveTo>
                    <a:pt x="0" y="137"/>
                  </a:moveTo>
                  <a:lnTo>
                    <a:pt x="137" y="0"/>
                  </a:lnTo>
                  <a:lnTo>
                    <a:pt x="273" y="137"/>
                  </a:lnTo>
                  <a:lnTo>
                    <a:pt x="137" y="273"/>
                  </a:lnTo>
                  <a:lnTo>
                    <a:pt x="0" y="137"/>
                  </a:lnTo>
                  <a:close/>
                </a:path>
              </a:pathLst>
            </a:custGeom>
            <a:grpFill/>
            <a:ln w="12700"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sp>
          <p:nvSpPr>
            <p:cNvPr id="111" name="Freeform 9">
              <a:extLst>
                <a:ext uri="{FF2B5EF4-FFF2-40B4-BE49-F238E27FC236}">
                  <a16:creationId xmlns:a16="http://schemas.microsoft.com/office/drawing/2014/main" id="{388AC070-6A91-4240-AF33-A4953009903F}"/>
                </a:ext>
              </a:extLst>
            </p:cNvPr>
            <p:cNvSpPr>
              <a:spLocks/>
            </p:cNvSpPr>
            <p:nvPr/>
          </p:nvSpPr>
          <p:spPr bwMode="auto">
            <a:xfrm>
              <a:off x="586" y="1169"/>
              <a:ext cx="38" cy="54"/>
            </a:xfrm>
            <a:custGeom>
              <a:avLst/>
              <a:gdLst>
                <a:gd name="T0" fmla="*/ 224 w 224"/>
                <a:gd name="T1" fmla="*/ 319 h 319"/>
                <a:gd name="T2" fmla="*/ 162 w 224"/>
                <a:gd name="T3" fmla="*/ 0 h 319"/>
                <a:gd name="T4" fmla="*/ 113 w 224"/>
                <a:gd name="T5" fmla="*/ 49 h 319"/>
                <a:gd name="T6" fmla="*/ 65 w 224"/>
                <a:gd name="T7" fmla="*/ 1 h 319"/>
                <a:gd name="T8" fmla="*/ 0 w 224"/>
                <a:gd name="T9" fmla="*/ 319 h 319"/>
              </a:gdLst>
              <a:ahLst/>
              <a:cxnLst>
                <a:cxn ang="0">
                  <a:pos x="T0" y="T1"/>
                </a:cxn>
                <a:cxn ang="0">
                  <a:pos x="T2" y="T3"/>
                </a:cxn>
                <a:cxn ang="0">
                  <a:pos x="T4" y="T5"/>
                </a:cxn>
                <a:cxn ang="0">
                  <a:pos x="T6" y="T7"/>
                </a:cxn>
                <a:cxn ang="0">
                  <a:pos x="T8" y="T9"/>
                </a:cxn>
              </a:cxnLst>
              <a:rect l="0" t="0" r="r" b="b"/>
              <a:pathLst>
                <a:path w="224" h="319">
                  <a:moveTo>
                    <a:pt x="224" y="319"/>
                  </a:moveTo>
                  <a:lnTo>
                    <a:pt x="162" y="0"/>
                  </a:lnTo>
                  <a:lnTo>
                    <a:pt x="113" y="49"/>
                  </a:lnTo>
                  <a:lnTo>
                    <a:pt x="65" y="1"/>
                  </a:lnTo>
                  <a:lnTo>
                    <a:pt x="0" y="319"/>
                  </a:lnTo>
                </a:path>
              </a:pathLst>
            </a:custGeom>
            <a:grpFill/>
            <a:ln w="12700"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grpSp>
      <p:sp>
        <p:nvSpPr>
          <p:cNvPr id="57" name="Rectangle 56">
            <a:extLst>
              <a:ext uri="{FF2B5EF4-FFF2-40B4-BE49-F238E27FC236}">
                <a16:creationId xmlns:a16="http://schemas.microsoft.com/office/drawing/2014/main" id="{1F3C345B-F436-4CC0-A741-D4044F7E9D44}"/>
              </a:ext>
            </a:extLst>
          </p:cNvPr>
          <p:cNvSpPr/>
          <p:nvPr/>
        </p:nvSpPr>
        <p:spPr>
          <a:xfrm>
            <a:off x="4261104" y="1711841"/>
            <a:ext cx="3596479" cy="4832092"/>
          </a:xfrm>
          <a:prstGeom prst="rect">
            <a:avLst/>
          </a:prstGeom>
        </p:spPr>
        <p:txBody>
          <a:bodyPr wrap="square" anchor="t">
            <a:spAutoFit/>
          </a:bodyPr>
          <a:lstStyle/>
          <a:p>
            <a:pPr defTabSz="914400"/>
            <a:r>
              <a:rPr lang="en-US" sz="1100" b="1">
                <a:ea typeface="ＭＳ Ｐゴシック"/>
                <a:cs typeface="Arial"/>
              </a:rPr>
              <a:t>Definition</a:t>
            </a:r>
          </a:p>
          <a:p>
            <a:pPr defTabSz="914400"/>
            <a:endParaRPr lang="en-US" sz="1100" b="1">
              <a:ea typeface="ＭＳ Ｐゴシック"/>
              <a:cs typeface="Arial"/>
            </a:endParaRPr>
          </a:p>
          <a:p>
            <a:pPr marL="228600" indent="-228600" defTabSz="914400">
              <a:buAutoNum type="arabicPeriod"/>
            </a:pPr>
            <a:r>
              <a:rPr lang="en-US" sz="1100" b="1">
                <a:ea typeface="ＭＳ Ｐゴシック"/>
                <a:cs typeface="Arial"/>
              </a:rPr>
              <a:t>Knowledge Base: </a:t>
            </a:r>
            <a:r>
              <a:rPr lang="en-US" sz="1100">
                <a:ea typeface="ＭＳ Ｐゴシック"/>
                <a:cs typeface="Arial"/>
              </a:rPr>
              <a:t>Knowledge Base is a logical database containing and structuring the data used by the Service Knowledge Management System.</a:t>
            </a:r>
          </a:p>
          <a:p>
            <a:pPr defTabSz="914400"/>
            <a:endParaRPr lang="en-US" sz="1100">
              <a:ea typeface="ＭＳ Ｐゴシック"/>
              <a:cs typeface="Arial"/>
            </a:endParaRPr>
          </a:p>
          <a:p>
            <a:pPr marL="228600" indent="-228600" defTabSz="914400">
              <a:buFont typeface="+mj-lt"/>
              <a:buAutoNum type="arabicPeriod" startAt="2"/>
            </a:pPr>
            <a:r>
              <a:rPr lang="en-US" sz="1100" b="1">
                <a:ea typeface="ＭＳ Ｐゴシック"/>
                <a:cs typeface="Arial"/>
              </a:rPr>
              <a:t>Knowledge Base Article (KBA): </a:t>
            </a:r>
            <a:r>
              <a:rPr lang="en-US" sz="1100">
                <a:ea typeface="ＭＳ Ｐゴシック"/>
                <a:cs typeface="Arial"/>
              </a:rPr>
              <a:t>Knowledge Based Article is a unique article created and updated by SAP employees and available to customers with note access on the Service Marketplace. KBAs contain information such as troubleshooting knowledge, known issues, and common issues for self-help and task resolution. However, KBAs do not contain code corrections.</a:t>
            </a:r>
          </a:p>
          <a:p>
            <a:pPr defTabSz="914400"/>
            <a:endParaRPr lang="en-US" sz="1100">
              <a:ea typeface="ＭＳ Ｐゴシック"/>
              <a:cs typeface="Arial"/>
            </a:endParaRPr>
          </a:p>
          <a:p>
            <a:pPr marL="228600" indent="-228600" defTabSz="914400">
              <a:buFont typeface="+mj-lt"/>
              <a:buAutoNum type="arabicPeriod" startAt="3"/>
            </a:pPr>
            <a:r>
              <a:rPr lang="en-US" sz="1100" b="1">
                <a:ea typeface="ＭＳ Ｐゴシック"/>
                <a:cs typeface="Arial"/>
              </a:rPr>
              <a:t>SAP Notes:</a:t>
            </a:r>
            <a:r>
              <a:rPr lang="en-US" sz="1100" b="1">
                <a:solidFill>
                  <a:srgbClr val="FF0000"/>
                </a:solidFill>
                <a:ea typeface="ＭＳ Ｐゴシック"/>
                <a:cs typeface="Arial"/>
              </a:rPr>
              <a:t> </a:t>
            </a:r>
            <a:r>
              <a:rPr lang="en-US" sz="1100">
                <a:ea typeface="ＭＳ Ｐゴシック"/>
                <a:cs typeface="Arial"/>
              </a:rPr>
              <a:t>SAP Notes are extended help information stored in SAP Notes database and accessible from I7P systems and Support Launchpad. SAP Notes contain information on:</a:t>
            </a:r>
          </a:p>
          <a:p>
            <a:pPr marL="447675" lvl="1" indent="-180975" defTabSz="914400">
              <a:buClrTx/>
              <a:buAutoNum type="arabicPeriod"/>
            </a:pPr>
            <a:r>
              <a:rPr lang="en-US" sz="1100">
                <a:ea typeface="ＭＳ Ｐゴシック"/>
                <a:cs typeface="Arial"/>
              </a:rPr>
              <a:t>Errors and insufficiencies in programs or documentation and code corrections</a:t>
            </a:r>
          </a:p>
          <a:p>
            <a:pPr marL="447675" lvl="1" indent="-180975" defTabSz="914400">
              <a:buClrTx/>
              <a:buAutoNum type="arabicPeriod"/>
            </a:pPr>
            <a:r>
              <a:rPr lang="en-US" sz="1100">
                <a:ea typeface="ＭＳ Ｐゴシック"/>
                <a:cs typeface="Arial"/>
              </a:rPr>
              <a:t>Issues within system environment (e.g. operating system, database, frontend)</a:t>
            </a:r>
          </a:p>
          <a:p>
            <a:pPr marL="447675" lvl="1" indent="-180975" defTabSz="914400">
              <a:buClrTx/>
              <a:buAutoNum type="arabicPeriod"/>
            </a:pPr>
            <a:r>
              <a:rPr lang="en-US" sz="1100">
                <a:ea typeface="ＭＳ Ｐゴシック"/>
                <a:cs typeface="Arial"/>
              </a:rPr>
              <a:t>Workarounds</a:t>
            </a:r>
          </a:p>
          <a:p>
            <a:pPr marL="447675" lvl="1" indent="-180975" defTabSz="914400">
              <a:buClrTx/>
              <a:buAutoNum type="arabicPeriod"/>
            </a:pPr>
            <a:r>
              <a:rPr lang="en-US" sz="1100">
                <a:ea typeface="ＭＳ Ｐゴシック"/>
                <a:cs typeface="Arial"/>
              </a:rPr>
              <a:t>Links to support packages that solve the issue</a:t>
            </a:r>
          </a:p>
          <a:p>
            <a:pPr marL="447675" lvl="1" indent="-180975" defTabSz="914400">
              <a:buClrTx/>
              <a:buAutoNum type="arabicPeriod"/>
            </a:pPr>
            <a:r>
              <a:rPr lang="en-US" sz="1100">
                <a:ea typeface="ＭＳ Ｐゴシック"/>
                <a:cs typeface="Arial"/>
              </a:rPr>
              <a:t>Answers to frequently asked questions</a:t>
            </a:r>
          </a:p>
          <a:p>
            <a:pPr defTabSz="914400"/>
            <a:endParaRPr lang="en-US" sz="1100" b="1">
              <a:ea typeface="ＭＳ Ｐゴシック"/>
              <a:cs typeface="Arial"/>
            </a:endParaRPr>
          </a:p>
        </p:txBody>
      </p:sp>
      <p:grpSp>
        <p:nvGrpSpPr>
          <p:cNvPr id="58" name="Group 57">
            <a:extLst>
              <a:ext uri="{FF2B5EF4-FFF2-40B4-BE49-F238E27FC236}">
                <a16:creationId xmlns:a16="http://schemas.microsoft.com/office/drawing/2014/main" id="{E3718031-5484-45C1-96EE-AFEBEB1ECEE2}"/>
              </a:ext>
            </a:extLst>
          </p:cNvPr>
          <p:cNvGrpSpPr/>
          <p:nvPr/>
        </p:nvGrpSpPr>
        <p:grpSpPr>
          <a:xfrm>
            <a:off x="8118199" y="1040912"/>
            <a:ext cx="3530229" cy="555279"/>
            <a:chOff x="3150020" y="633645"/>
            <a:chExt cx="3032760" cy="555279"/>
          </a:xfrm>
        </p:grpSpPr>
        <p:sp>
          <p:nvSpPr>
            <p:cNvPr id="59" name="Rectangle 58">
              <a:extLst>
                <a:ext uri="{FF2B5EF4-FFF2-40B4-BE49-F238E27FC236}">
                  <a16:creationId xmlns:a16="http://schemas.microsoft.com/office/drawing/2014/main" id="{420A0B04-B3CD-4566-99F4-16B84248ECDC}"/>
                </a:ext>
              </a:extLst>
            </p:cNvPr>
            <p:cNvSpPr/>
            <p:nvPr/>
          </p:nvSpPr>
          <p:spPr bwMode="gray">
            <a:xfrm>
              <a:off x="3150020" y="633645"/>
              <a:ext cx="3032760" cy="45719"/>
            </a:xfrm>
            <a:prstGeom prst="rect">
              <a:avLst/>
            </a:prstGeom>
            <a:solidFill>
              <a:srgbClr val="FBB24B"/>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62" name="Rectangle 61">
              <a:extLst>
                <a:ext uri="{FF2B5EF4-FFF2-40B4-BE49-F238E27FC236}">
                  <a16:creationId xmlns:a16="http://schemas.microsoft.com/office/drawing/2014/main" id="{61BBDFFA-B10A-4D78-81D4-8E516E2E1C89}"/>
                </a:ext>
              </a:extLst>
            </p:cNvPr>
            <p:cNvSpPr/>
            <p:nvPr/>
          </p:nvSpPr>
          <p:spPr bwMode="gray">
            <a:xfrm flipV="1">
              <a:off x="3150020" y="679364"/>
              <a:ext cx="3032760" cy="457200"/>
            </a:xfrm>
            <a:prstGeom prst="rect">
              <a:avLst/>
            </a:prstGeom>
            <a:solidFill>
              <a:srgbClr val="0095D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63" name="TextBox 62">
              <a:extLst>
                <a:ext uri="{FF2B5EF4-FFF2-40B4-BE49-F238E27FC236}">
                  <a16:creationId xmlns:a16="http://schemas.microsoft.com/office/drawing/2014/main" id="{AB2A0195-1EB3-4E45-9F5E-D29CE1678C43}"/>
                </a:ext>
              </a:extLst>
            </p:cNvPr>
            <p:cNvSpPr txBox="1"/>
            <p:nvPr/>
          </p:nvSpPr>
          <p:spPr>
            <a:xfrm>
              <a:off x="4014614" y="715635"/>
              <a:ext cx="1371600" cy="360000"/>
            </a:xfrm>
            <a:prstGeom prst="rect">
              <a:avLst/>
            </a:prstGeom>
            <a:noFill/>
          </p:spPr>
          <p:txBody>
            <a:bodyPr wrap="none" lIns="0" tIns="0" rIns="0" bIns="0" rtlCol="0" anchor="ctr">
              <a:noAutofit/>
            </a:bodyPr>
            <a:lstStyle/>
            <a:p>
              <a:pPr lvl="0" indent="92075" eaLnBrk="0" fontAlgn="base" hangingPunct="0"/>
              <a:r>
                <a:rPr lang="en-AU" altLang="en-US" sz="1200" b="1">
                  <a:solidFill>
                    <a:prstClr val="white"/>
                  </a:solidFill>
                  <a:ea typeface="Verdana" panose="020B0604030504040204" pitchFamily="34" charset="0"/>
                  <a:cs typeface="Verdana" panose="020B0604030504040204" pitchFamily="34" charset="0"/>
                </a:rPr>
                <a:t>Explanation &amp; Related Terms </a:t>
              </a:r>
            </a:p>
            <a:p>
              <a:pPr lvl="0" indent="92075" eaLnBrk="0" fontAlgn="base" hangingPunct="0"/>
              <a:r>
                <a:rPr lang="en-AU" altLang="en-US" sz="1200" b="1">
                  <a:solidFill>
                    <a:prstClr val="white"/>
                  </a:solidFill>
                  <a:ea typeface="Verdana" panose="020B0604030504040204" pitchFamily="34" charset="0"/>
                  <a:cs typeface="Verdana" panose="020B0604030504040204" pitchFamily="34" charset="0"/>
                </a:rPr>
                <a:t>(Cont’d)</a:t>
              </a:r>
            </a:p>
          </p:txBody>
        </p:sp>
        <p:sp>
          <p:nvSpPr>
            <p:cNvPr id="64" name="Isosceles Triangle 63">
              <a:extLst>
                <a:ext uri="{FF2B5EF4-FFF2-40B4-BE49-F238E27FC236}">
                  <a16:creationId xmlns:a16="http://schemas.microsoft.com/office/drawing/2014/main" id="{E27C963C-D2CA-4927-9986-F0F8F0B0B411}"/>
                </a:ext>
              </a:extLst>
            </p:cNvPr>
            <p:cNvSpPr/>
            <p:nvPr/>
          </p:nvSpPr>
          <p:spPr>
            <a:xfrm flipV="1">
              <a:off x="5785619" y="984544"/>
              <a:ext cx="396938" cy="204380"/>
            </a:xfrm>
            <a:prstGeom prst="triangle">
              <a:avLst/>
            </a:prstGeom>
            <a:solidFill>
              <a:srgbClr val="0095D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66" name="Rectangle 65">
            <a:extLst>
              <a:ext uri="{FF2B5EF4-FFF2-40B4-BE49-F238E27FC236}">
                <a16:creationId xmlns:a16="http://schemas.microsoft.com/office/drawing/2014/main" id="{ECFC8337-EB44-4A36-BE76-A94B08FF9DE6}"/>
              </a:ext>
            </a:extLst>
          </p:cNvPr>
          <p:cNvSpPr/>
          <p:nvPr/>
        </p:nvSpPr>
        <p:spPr>
          <a:xfrm>
            <a:off x="8119871" y="1711591"/>
            <a:ext cx="3622105" cy="1107996"/>
          </a:xfrm>
          <a:prstGeom prst="rect">
            <a:avLst/>
          </a:prstGeom>
        </p:spPr>
        <p:txBody>
          <a:bodyPr wrap="square">
            <a:spAutoFit/>
          </a:bodyPr>
          <a:lstStyle/>
          <a:p>
            <a:pPr marL="228600" indent="-228600" defTabSz="914400">
              <a:buFont typeface="+mj-lt"/>
              <a:buAutoNum type="arabicPeriod" startAt="4"/>
            </a:pPr>
            <a:r>
              <a:rPr lang="en-US" sz="1100" b="1">
                <a:ea typeface="ＭＳ Ｐゴシック"/>
                <a:cs typeface="Arial"/>
              </a:rPr>
              <a:t>Knowledge Management: </a:t>
            </a:r>
            <a:r>
              <a:rPr lang="en-US" sz="1100">
                <a:ea typeface="ＭＳ Ｐゴシック"/>
                <a:cs typeface="Arial"/>
              </a:rPr>
              <a:t>Knowledge Management is the process that enables the sharing of information in knowledge bases through creating, categorizing, reviewing, and approving articles. It aims to improve efficiency by reducing the need to rediscover knowledge. </a:t>
            </a:r>
          </a:p>
        </p:txBody>
      </p:sp>
      <p:pic>
        <p:nvPicPr>
          <p:cNvPr id="3" name="Picture 2" descr="A close up of a logo&#10;&#10;Description generated with very high confidence">
            <a:extLst>
              <a:ext uri="{FF2B5EF4-FFF2-40B4-BE49-F238E27FC236}">
                <a16:creationId xmlns:a16="http://schemas.microsoft.com/office/drawing/2014/main" id="{8F38EF99-F19D-40F8-B994-548CC4464472}"/>
              </a:ext>
            </a:extLst>
          </p:cNvPr>
          <p:cNvPicPr>
            <a:picLocks noChangeAspect="1"/>
          </p:cNvPicPr>
          <p:nvPr/>
        </p:nvPicPr>
        <p:blipFill>
          <a:blip r:embed="rId11"/>
          <a:stretch>
            <a:fillRect/>
          </a:stretch>
        </p:blipFill>
        <p:spPr>
          <a:xfrm>
            <a:off x="8070077" y="756443"/>
            <a:ext cx="1104390" cy="1104390"/>
          </a:xfrm>
          <a:prstGeom prst="rect">
            <a:avLst/>
          </a:prstGeom>
        </p:spPr>
      </p:pic>
    </p:spTree>
    <p:extLst>
      <p:ext uri="{BB962C8B-B14F-4D97-AF65-F5344CB8AC3E}">
        <p14:creationId xmlns:p14="http://schemas.microsoft.com/office/powerpoint/2010/main" val="11368806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05B5FF9-9B22-4FFF-B41D-0F63D084F0F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6" imgW="395" imgH="396" progId="TCLayout.ActiveDocument.1">
                  <p:embed/>
                </p:oleObj>
              </mc:Choice>
              <mc:Fallback>
                <p:oleObj name="think-cell Slide" r:id="rId6" imgW="395" imgH="396" progId="TCLayout.ActiveDocument.1">
                  <p:embed/>
                  <p:pic>
                    <p:nvPicPr>
                      <p:cNvPr id="4" name="Object 3" hidden="1">
                        <a:extLst>
                          <a:ext uri="{FF2B5EF4-FFF2-40B4-BE49-F238E27FC236}">
                            <a16:creationId xmlns:a16="http://schemas.microsoft.com/office/drawing/2014/main" id="{205B5FF9-9B22-4FFF-B41D-0F63D084F0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53C733-5B66-41A2-AC5F-9C8B7DCDE77F}"/>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en-US" sz="2400" b="1" u="none" strike="noStrike" kern="0" cap="none" spc="0" normalizeH="0" noProof="0">
              <a:ln>
                <a:noFill/>
              </a:ln>
              <a:effectLst/>
              <a:uLnTx/>
              <a:uFillTx/>
              <a:latin typeface="Arial" panose="020B0604020202020204" pitchFamily="34" charset="0"/>
              <a:ea typeface="+mj-ea"/>
              <a:cs typeface="+mj-cs"/>
              <a:sym typeface="Arial" panose="020B0604020202020204" pitchFamily="34" charset="0"/>
            </a:endParaRPr>
          </a:p>
        </p:txBody>
      </p:sp>
      <p:sp>
        <p:nvSpPr>
          <p:cNvPr id="24" name="Title"/>
          <p:cNvSpPr>
            <a:spLocks noGrp="1"/>
          </p:cNvSpPr>
          <p:nvPr>
            <p:ph type="title"/>
          </p:nvPr>
        </p:nvSpPr>
        <p:spPr bwMode="gray">
          <a:xfrm>
            <a:off x="504001" y="504000"/>
            <a:ext cx="9720000" cy="369332"/>
          </a:xfrm>
        </p:spPr>
        <p:txBody>
          <a:bodyPr/>
          <a:lstStyle/>
          <a:p>
            <a:r>
              <a:rPr lang="en-US"/>
              <a:t>Harmonized Customer Service Management (HCSM) Terminology</a:t>
            </a:r>
          </a:p>
        </p:txBody>
      </p:sp>
      <p:sp>
        <p:nvSpPr>
          <p:cNvPr id="22" name="Rectangle 21">
            <a:extLst>
              <a:ext uri="{FF2B5EF4-FFF2-40B4-BE49-F238E27FC236}">
                <a16:creationId xmlns:a16="http://schemas.microsoft.com/office/drawing/2014/main" id="{1A15397A-139C-4968-9BFE-F6ABEB7110D5}"/>
              </a:ext>
            </a:extLst>
          </p:cNvPr>
          <p:cNvSpPr/>
          <p:nvPr/>
        </p:nvSpPr>
        <p:spPr>
          <a:xfrm>
            <a:off x="311151" y="1753343"/>
            <a:ext cx="3634896" cy="600164"/>
          </a:xfrm>
          <a:prstGeom prst="rect">
            <a:avLst/>
          </a:prstGeom>
        </p:spPr>
        <p:txBody>
          <a:bodyPr wrap="square" anchor="t">
            <a:spAutoFit/>
          </a:bodyPr>
          <a:lstStyle/>
          <a:p>
            <a:pPr defTabSz="914400"/>
            <a:r>
              <a:rPr lang="en-US" sz="1100">
                <a:solidFill>
                  <a:srgbClr val="000000"/>
                </a:solidFill>
                <a:ea typeface="ＭＳ Ｐゴシック"/>
              </a:rPr>
              <a:t>This document explains the terms </a:t>
            </a:r>
            <a:r>
              <a:rPr lang="en-US" sz="1100" b="1">
                <a:solidFill>
                  <a:srgbClr val="000000"/>
                </a:solidFill>
                <a:ea typeface="ＭＳ Ｐゴシック"/>
              </a:rPr>
              <a:t>Problem Record, Problem Management, Root Cause, and Root Cause Analysis.</a:t>
            </a:r>
            <a:endParaRPr lang="en-US" sz="1100" b="1">
              <a:solidFill>
                <a:srgbClr val="000000"/>
              </a:solidFill>
              <a:ea typeface="ＭＳ Ｐゴシック" pitchFamily="34" charset="-128"/>
            </a:endParaRPr>
          </a:p>
        </p:txBody>
      </p:sp>
      <p:sp>
        <p:nvSpPr>
          <p:cNvPr id="23" name="Rectangle 22">
            <a:extLst>
              <a:ext uri="{FF2B5EF4-FFF2-40B4-BE49-F238E27FC236}">
                <a16:creationId xmlns:a16="http://schemas.microsoft.com/office/drawing/2014/main" id="{5BD93C33-1D0D-495A-B7BA-8F4B366EE2C2}"/>
              </a:ext>
            </a:extLst>
          </p:cNvPr>
          <p:cNvSpPr/>
          <p:nvPr/>
        </p:nvSpPr>
        <p:spPr>
          <a:xfrm>
            <a:off x="334347" y="3718640"/>
            <a:ext cx="3500247" cy="430887"/>
          </a:xfrm>
          <a:prstGeom prst="rect">
            <a:avLst/>
          </a:prstGeom>
        </p:spPr>
        <p:txBody>
          <a:bodyPr wrap="square" anchor="t">
            <a:spAutoFit/>
          </a:bodyPr>
          <a:lstStyle/>
          <a:p>
            <a:pPr defTabSz="914400"/>
            <a:r>
              <a:rPr lang="en-US" sz="1100">
                <a:solidFill>
                  <a:srgbClr val="000000"/>
                </a:solidFill>
                <a:ea typeface="ＭＳ Ｐゴシック" pitchFamily="34" charset="-128"/>
              </a:rPr>
              <a:t>Refer to the Quick Reference Card for Case/Incident &amp; Knowledge</a:t>
            </a:r>
          </a:p>
        </p:txBody>
      </p:sp>
      <p:sp>
        <p:nvSpPr>
          <p:cNvPr id="25" name="Rectangle 24">
            <a:extLst>
              <a:ext uri="{FF2B5EF4-FFF2-40B4-BE49-F238E27FC236}">
                <a16:creationId xmlns:a16="http://schemas.microsoft.com/office/drawing/2014/main" id="{0F7FA3AC-2E37-4C1D-899F-43D804EDA184}"/>
              </a:ext>
            </a:extLst>
          </p:cNvPr>
          <p:cNvSpPr/>
          <p:nvPr/>
        </p:nvSpPr>
        <p:spPr>
          <a:xfrm>
            <a:off x="373521" y="2875383"/>
            <a:ext cx="2921113" cy="261610"/>
          </a:xfrm>
          <a:prstGeom prst="rect">
            <a:avLst/>
          </a:prstGeom>
        </p:spPr>
        <p:txBody>
          <a:bodyPr wrap="square">
            <a:spAutoFit/>
          </a:bodyPr>
          <a:lstStyle/>
          <a:p>
            <a:pPr defTabSz="914400">
              <a:buClr>
                <a:srgbClr val="003068"/>
              </a:buClr>
            </a:pPr>
            <a:r>
              <a:rPr lang="en-US" sz="1100">
                <a:solidFill>
                  <a:srgbClr val="000000"/>
                </a:solidFill>
                <a:ea typeface="ＭＳ Ｐゴシック" pitchFamily="34" charset="-128"/>
              </a:rPr>
              <a:t>Development and Operations</a:t>
            </a:r>
          </a:p>
        </p:txBody>
      </p:sp>
      <p:cxnSp>
        <p:nvCxnSpPr>
          <p:cNvPr id="26" name="Straight Connector 25">
            <a:extLst>
              <a:ext uri="{FF2B5EF4-FFF2-40B4-BE49-F238E27FC236}">
                <a16:creationId xmlns:a16="http://schemas.microsoft.com/office/drawing/2014/main" id="{4DDE0BC5-D2CC-4A9F-B156-8FEBE451986D}"/>
              </a:ext>
            </a:extLst>
          </p:cNvPr>
          <p:cNvCxnSpPr>
            <a:cxnSpLocks/>
          </p:cNvCxnSpPr>
          <p:nvPr/>
        </p:nvCxnSpPr>
        <p:spPr>
          <a:xfrm>
            <a:off x="4052248" y="1075408"/>
            <a:ext cx="24466" cy="5474056"/>
          </a:xfrm>
          <a:prstGeom prst="line">
            <a:avLst/>
          </a:prstGeom>
          <a:ln w="6350">
            <a:solidFill>
              <a:srgbClr val="0095D3">
                <a:alpha val="50000"/>
              </a:srgb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44BFDF2-6F65-4134-ADA9-E8F6643D24A6}"/>
              </a:ext>
            </a:extLst>
          </p:cNvPr>
          <p:cNvCxnSpPr>
            <a:cxnSpLocks/>
          </p:cNvCxnSpPr>
          <p:nvPr/>
        </p:nvCxnSpPr>
        <p:spPr>
          <a:xfrm>
            <a:off x="7999722" y="1069374"/>
            <a:ext cx="24466" cy="5474056"/>
          </a:xfrm>
          <a:prstGeom prst="line">
            <a:avLst/>
          </a:prstGeom>
          <a:ln w="6350">
            <a:solidFill>
              <a:srgbClr val="0095D3">
                <a:alpha val="50000"/>
              </a:srgbClr>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758CF31-74D6-4044-B856-556C9E2081FD}"/>
              </a:ext>
            </a:extLst>
          </p:cNvPr>
          <p:cNvSpPr txBox="1"/>
          <p:nvPr/>
        </p:nvSpPr>
        <p:spPr>
          <a:xfrm>
            <a:off x="940596" y="1179874"/>
            <a:ext cx="1605995" cy="3600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Description</a:t>
            </a:r>
            <a:endParaRPr lang="en-US" sz="1800">
              <a:solidFill>
                <a:srgbClr val="717074"/>
              </a:solidFill>
            </a:endParaRPr>
          </a:p>
        </p:txBody>
      </p:sp>
      <p:grpSp>
        <p:nvGrpSpPr>
          <p:cNvPr id="31" name="Group 30">
            <a:extLst>
              <a:ext uri="{FF2B5EF4-FFF2-40B4-BE49-F238E27FC236}">
                <a16:creationId xmlns:a16="http://schemas.microsoft.com/office/drawing/2014/main" id="{661D79AC-0556-4189-96B2-BBF3BA0DFC47}"/>
              </a:ext>
            </a:extLst>
          </p:cNvPr>
          <p:cNvGrpSpPr>
            <a:grpSpLocks noChangeAspect="1"/>
          </p:cNvGrpSpPr>
          <p:nvPr/>
        </p:nvGrpSpPr>
        <p:grpSpPr>
          <a:xfrm>
            <a:off x="630255" y="1210507"/>
            <a:ext cx="416203" cy="317631"/>
            <a:chOff x="3494088" y="5276851"/>
            <a:chExt cx="939801" cy="839788"/>
          </a:xfrm>
          <a:solidFill>
            <a:schemeClr val="bg1"/>
          </a:solidFill>
        </p:grpSpPr>
        <p:sp>
          <p:nvSpPr>
            <p:cNvPr id="32" name="Freeform 1961">
              <a:extLst>
                <a:ext uri="{FF2B5EF4-FFF2-40B4-BE49-F238E27FC236}">
                  <a16:creationId xmlns:a16="http://schemas.microsoft.com/office/drawing/2014/main" id="{BD0ED1A1-6215-4E00-92FD-EA257CE3808A}"/>
                </a:ext>
              </a:extLst>
            </p:cNvPr>
            <p:cNvSpPr>
              <a:spLocks/>
            </p:cNvSpPr>
            <p:nvPr/>
          </p:nvSpPr>
          <p:spPr bwMode="auto">
            <a:xfrm>
              <a:off x="3494088" y="5276851"/>
              <a:ext cx="687388" cy="839788"/>
            </a:xfrm>
            <a:custGeom>
              <a:avLst/>
              <a:gdLst>
                <a:gd name="T0" fmla="*/ 401 w 433"/>
                <a:gd name="T1" fmla="*/ 370 h 529"/>
                <a:gd name="T2" fmla="*/ 401 w 433"/>
                <a:gd name="T3" fmla="*/ 473 h 529"/>
                <a:gd name="T4" fmla="*/ 399 w 433"/>
                <a:gd name="T5" fmla="*/ 482 h 529"/>
                <a:gd name="T6" fmla="*/ 394 w 433"/>
                <a:gd name="T7" fmla="*/ 490 h 529"/>
                <a:gd name="T8" fmla="*/ 386 w 433"/>
                <a:gd name="T9" fmla="*/ 495 h 529"/>
                <a:gd name="T10" fmla="*/ 376 w 433"/>
                <a:gd name="T11" fmla="*/ 497 h 529"/>
                <a:gd name="T12" fmla="*/ 57 w 433"/>
                <a:gd name="T13" fmla="*/ 497 h 529"/>
                <a:gd name="T14" fmla="*/ 47 w 433"/>
                <a:gd name="T15" fmla="*/ 495 h 529"/>
                <a:gd name="T16" fmla="*/ 40 w 433"/>
                <a:gd name="T17" fmla="*/ 490 h 529"/>
                <a:gd name="T18" fmla="*/ 35 w 433"/>
                <a:gd name="T19" fmla="*/ 482 h 529"/>
                <a:gd name="T20" fmla="*/ 33 w 433"/>
                <a:gd name="T21" fmla="*/ 473 h 529"/>
                <a:gd name="T22" fmla="*/ 33 w 433"/>
                <a:gd name="T23" fmla="*/ 56 h 529"/>
                <a:gd name="T24" fmla="*/ 35 w 433"/>
                <a:gd name="T25" fmla="*/ 47 h 529"/>
                <a:gd name="T26" fmla="*/ 40 w 433"/>
                <a:gd name="T27" fmla="*/ 39 h 529"/>
                <a:gd name="T28" fmla="*/ 47 w 433"/>
                <a:gd name="T29" fmla="*/ 34 h 529"/>
                <a:gd name="T30" fmla="*/ 57 w 433"/>
                <a:gd name="T31" fmla="*/ 32 h 529"/>
                <a:gd name="T32" fmla="*/ 376 w 433"/>
                <a:gd name="T33" fmla="*/ 32 h 529"/>
                <a:gd name="T34" fmla="*/ 386 w 433"/>
                <a:gd name="T35" fmla="*/ 34 h 529"/>
                <a:gd name="T36" fmla="*/ 394 w 433"/>
                <a:gd name="T37" fmla="*/ 39 h 529"/>
                <a:gd name="T38" fmla="*/ 399 w 433"/>
                <a:gd name="T39" fmla="*/ 47 h 529"/>
                <a:gd name="T40" fmla="*/ 401 w 433"/>
                <a:gd name="T41" fmla="*/ 56 h 529"/>
                <a:gd name="T42" fmla="*/ 401 w 433"/>
                <a:gd name="T43" fmla="*/ 192 h 529"/>
                <a:gd name="T44" fmla="*/ 433 w 433"/>
                <a:gd name="T45" fmla="*/ 169 h 529"/>
                <a:gd name="T46" fmla="*/ 433 w 433"/>
                <a:gd name="T47" fmla="*/ 56 h 529"/>
                <a:gd name="T48" fmla="*/ 430 w 433"/>
                <a:gd name="T49" fmla="*/ 39 h 529"/>
                <a:gd name="T50" fmla="*/ 422 w 433"/>
                <a:gd name="T51" fmla="*/ 23 h 529"/>
                <a:gd name="T52" fmla="*/ 410 w 433"/>
                <a:gd name="T53" fmla="*/ 11 h 529"/>
                <a:gd name="T54" fmla="*/ 394 w 433"/>
                <a:gd name="T55" fmla="*/ 3 h 529"/>
                <a:gd name="T56" fmla="*/ 376 w 433"/>
                <a:gd name="T57" fmla="*/ 0 h 529"/>
                <a:gd name="T58" fmla="*/ 57 w 433"/>
                <a:gd name="T59" fmla="*/ 0 h 529"/>
                <a:gd name="T60" fmla="*/ 39 w 433"/>
                <a:gd name="T61" fmla="*/ 3 h 529"/>
                <a:gd name="T62" fmla="*/ 24 w 433"/>
                <a:gd name="T63" fmla="*/ 11 h 529"/>
                <a:gd name="T64" fmla="*/ 11 w 433"/>
                <a:gd name="T65" fmla="*/ 23 h 529"/>
                <a:gd name="T66" fmla="*/ 3 w 433"/>
                <a:gd name="T67" fmla="*/ 39 h 529"/>
                <a:gd name="T68" fmla="*/ 0 w 433"/>
                <a:gd name="T69" fmla="*/ 56 h 529"/>
                <a:gd name="T70" fmla="*/ 0 w 433"/>
                <a:gd name="T71" fmla="*/ 473 h 529"/>
                <a:gd name="T72" fmla="*/ 3 w 433"/>
                <a:gd name="T73" fmla="*/ 490 h 529"/>
                <a:gd name="T74" fmla="*/ 11 w 433"/>
                <a:gd name="T75" fmla="*/ 506 h 529"/>
                <a:gd name="T76" fmla="*/ 24 w 433"/>
                <a:gd name="T77" fmla="*/ 518 h 529"/>
                <a:gd name="T78" fmla="*/ 39 w 433"/>
                <a:gd name="T79" fmla="*/ 526 h 529"/>
                <a:gd name="T80" fmla="*/ 57 w 433"/>
                <a:gd name="T81" fmla="*/ 529 h 529"/>
                <a:gd name="T82" fmla="*/ 376 w 433"/>
                <a:gd name="T83" fmla="*/ 529 h 529"/>
                <a:gd name="T84" fmla="*/ 394 w 433"/>
                <a:gd name="T85" fmla="*/ 526 h 529"/>
                <a:gd name="T86" fmla="*/ 410 w 433"/>
                <a:gd name="T87" fmla="*/ 518 h 529"/>
                <a:gd name="T88" fmla="*/ 422 w 433"/>
                <a:gd name="T89" fmla="*/ 506 h 529"/>
                <a:gd name="T90" fmla="*/ 430 w 433"/>
                <a:gd name="T91" fmla="*/ 490 h 529"/>
                <a:gd name="T92" fmla="*/ 433 w 433"/>
                <a:gd name="T93" fmla="*/ 473 h 529"/>
                <a:gd name="T94" fmla="*/ 433 w 433"/>
                <a:gd name="T95" fmla="*/ 346 h 529"/>
                <a:gd name="T96" fmla="*/ 401 w 433"/>
                <a:gd name="T97" fmla="*/ 37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3" h="529">
                  <a:moveTo>
                    <a:pt x="401" y="370"/>
                  </a:moveTo>
                  <a:lnTo>
                    <a:pt x="401" y="473"/>
                  </a:lnTo>
                  <a:lnTo>
                    <a:pt x="399" y="482"/>
                  </a:lnTo>
                  <a:lnTo>
                    <a:pt x="394" y="490"/>
                  </a:lnTo>
                  <a:lnTo>
                    <a:pt x="386" y="495"/>
                  </a:lnTo>
                  <a:lnTo>
                    <a:pt x="376" y="497"/>
                  </a:lnTo>
                  <a:lnTo>
                    <a:pt x="57" y="497"/>
                  </a:lnTo>
                  <a:lnTo>
                    <a:pt x="47" y="495"/>
                  </a:lnTo>
                  <a:lnTo>
                    <a:pt x="40" y="490"/>
                  </a:lnTo>
                  <a:lnTo>
                    <a:pt x="35" y="482"/>
                  </a:lnTo>
                  <a:lnTo>
                    <a:pt x="33" y="473"/>
                  </a:lnTo>
                  <a:lnTo>
                    <a:pt x="33" y="56"/>
                  </a:lnTo>
                  <a:lnTo>
                    <a:pt x="35" y="47"/>
                  </a:lnTo>
                  <a:lnTo>
                    <a:pt x="40" y="39"/>
                  </a:lnTo>
                  <a:lnTo>
                    <a:pt x="47" y="34"/>
                  </a:lnTo>
                  <a:lnTo>
                    <a:pt x="57" y="32"/>
                  </a:lnTo>
                  <a:lnTo>
                    <a:pt x="376" y="32"/>
                  </a:lnTo>
                  <a:lnTo>
                    <a:pt x="386" y="34"/>
                  </a:lnTo>
                  <a:lnTo>
                    <a:pt x="394" y="39"/>
                  </a:lnTo>
                  <a:lnTo>
                    <a:pt x="399" y="47"/>
                  </a:lnTo>
                  <a:lnTo>
                    <a:pt x="401" y="56"/>
                  </a:lnTo>
                  <a:lnTo>
                    <a:pt x="401" y="192"/>
                  </a:lnTo>
                  <a:lnTo>
                    <a:pt x="433" y="169"/>
                  </a:lnTo>
                  <a:lnTo>
                    <a:pt x="433" y="56"/>
                  </a:lnTo>
                  <a:lnTo>
                    <a:pt x="430" y="39"/>
                  </a:lnTo>
                  <a:lnTo>
                    <a:pt x="422" y="23"/>
                  </a:lnTo>
                  <a:lnTo>
                    <a:pt x="410" y="11"/>
                  </a:lnTo>
                  <a:lnTo>
                    <a:pt x="394" y="3"/>
                  </a:lnTo>
                  <a:lnTo>
                    <a:pt x="376" y="0"/>
                  </a:lnTo>
                  <a:lnTo>
                    <a:pt x="57" y="0"/>
                  </a:lnTo>
                  <a:lnTo>
                    <a:pt x="39" y="3"/>
                  </a:lnTo>
                  <a:lnTo>
                    <a:pt x="24" y="11"/>
                  </a:lnTo>
                  <a:lnTo>
                    <a:pt x="11" y="23"/>
                  </a:lnTo>
                  <a:lnTo>
                    <a:pt x="3" y="39"/>
                  </a:lnTo>
                  <a:lnTo>
                    <a:pt x="0" y="56"/>
                  </a:lnTo>
                  <a:lnTo>
                    <a:pt x="0" y="473"/>
                  </a:lnTo>
                  <a:lnTo>
                    <a:pt x="3" y="490"/>
                  </a:lnTo>
                  <a:lnTo>
                    <a:pt x="11" y="506"/>
                  </a:lnTo>
                  <a:lnTo>
                    <a:pt x="24" y="518"/>
                  </a:lnTo>
                  <a:lnTo>
                    <a:pt x="39" y="526"/>
                  </a:lnTo>
                  <a:lnTo>
                    <a:pt x="57" y="529"/>
                  </a:lnTo>
                  <a:lnTo>
                    <a:pt x="376" y="529"/>
                  </a:lnTo>
                  <a:lnTo>
                    <a:pt x="394" y="526"/>
                  </a:lnTo>
                  <a:lnTo>
                    <a:pt x="410" y="518"/>
                  </a:lnTo>
                  <a:lnTo>
                    <a:pt x="422" y="506"/>
                  </a:lnTo>
                  <a:lnTo>
                    <a:pt x="430" y="490"/>
                  </a:lnTo>
                  <a:lnTo>
                    <a:pt x="433" y="473"/>
                  </a:lnTo>
                  <a:lnTo>
                    <a:pt x="433" y="346"/>
                  </a:lnTo>
                  <a:lnTo>
                    <a:pt x="401" y="3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3" name="Freeform 1962">
              <a:extLst>
                <a:ext uri="{FF2B5EF4-FFF2-40B4-BE49-F238E27FC236}">
                  <a16:creationId xmlns:a16="http://schemas.microsoft.com/office/drawing/2014/main" id="{CDFE449F-26EC-4FF6-BD98-56F1CDD47373}"/>
                </a:ext>
              </a:extLst>
            </p:cNvPr>
            <p:cNvSpPr>
              <a:spLocks noEditPoints="1"/>
            </p:cNvSpPr>
            <p:nvPr/>
          </p:nvSpPr>
          <p:spPr bwMode="auto">
            <a:xfrm>
              <a:off x="3965576" y="5475288"/>
              <a:ext cx="468313" cy="377825"/>
            </a:xfrm>
            <a:custGeom>
              <a:avLst/>
              <a:gdLst>
                <a:gd name="T0" fmla="*/ 257 w 295"/>
                <a:gd name="T1" fmla="*/ 5 h 238"/>
                <a:gd name="T2" fmla="*/ 230 w 295"/>
                <a:gd name="T3" fmla="*/ 1 h 238"/>
                <a:gd name="T4" fmla="*/ 43 w 295"/>
                <a:gd name="T5" fmla="*/ 136 h 238"/>
                <a:gd name="T6" fmla="*/ 34 w 295"/>
                <a:gd name="T7" fmla="*/ 154 h 238"/>
                <a:gd name="T8" fmla="*/ 15 w 295"/>
                <a:gd name="T9" fmla="*/ 189 h 238"/>
                <a:gd name="T10" fmla="*/ 3 w 295"/>
                <a:gd name="T11" fmla="*/ 213 h 238"/>
                <a:gd name="T12" fmla="*/ 0 w 295"/>
                <a:gd name="T13" fmla="*/ 224 h 238"/>
                <a:gd name="T14" fmla="*/ 6 w 295"/>
                <a:gd name="T15" fmla="*/ 237 h 238"/>
                <a:gd name="T16" fmla="*/ 37 w 295"/>
                <a:gd name="T17" fmla="*/ 235 h 238"/>
                <a:gd name="T18" fmla="*/ 82 w 295"/>
                <a:gd name="T19" fmla="*/ 225 h 238"/>
                <a:gd name="T20" fmla="*/ 104 w 295"/>
                <a:gd name="T21" fmla="*/ 219 h 238"/>
                <a:gd name="T22" fmla="*/ 282 w 295"/>
                <a:gd name="T23" fmla="*/ 89 h 238"/>
                <a:gd name="T24" fmla="*/ 294 w 295"/>
                <a:gd name="T25" fmla="*/ 56 h 238"/>
                <a:gd name="T26" fmla="*/ 34 w 295"/>
                <a:gd name="T27" fmla="*/ 211 h 238"/>
                <a:gd name="T28" fmla="*/ 29 w 295"/>
                <a:gd name="T29" fmla="*/ 195 h 238"/>
                <a:gd name="T30" fmla="*/ 41 w 295"/>
                <a:gd name="T31" fmla="*/ 172 h 238"/>
                <a:gd name="T32" fmla="*/ 77 w 295"/>
                <a:gd name="T33" fmla="*/ 210 h 238"/>
                <a:gd name="T34" fmla="*/ 59 w 295"/>
                <a:gd name="T35" fmla="*/ 214 h 238"/>
                <a:gd name="T36" fmla="*/ 88 w 295"/>
                <a:gd name="T37" fmla="*/ 140 h 238"/>
                <a:gd name="T38" fmla="*/ 83 w 295"/>
                <a:gd name="T39" fmla="*/ 137 h 238"/>
                <a:gd name="T40" fmla="*/ 83 w 295"/>
                <a:gd name="T41" fmla="*/ 131 h 238"/>
                <a:gd name="T42" fmla="*/ 182 w 295"/>
                <a:gd name="T43" fmla="*/ 57 h 238"/>
                <a:gd name="T44" fmla="*/ 188 w 295"/>
                <a:gd name="T45" fmla="*/ 60 h 238"/>
                <a:gd name="T46" fmla="*/ 188 w 295"/>
                <a:gd name="T47" fmla="*/ 66 h 238"/>
                <a:gd name="T48" fmla="*/ 90 w 295"/>
                <a:gd name="T49" fmla="*/ 140 h 238"/>
                <a:gd name="T50" fmla="*/ 102 w 295"/>
                <a:gd name="T51" fmla="*/ 161 h 238"/>
                <a:gd name="T52" fmla="*/ 98 w 295"/>
                <a:gd name="T53" fmla="*/ 157 h 238"/>
                <a:gd name="T54" fmla="*/ 100 w 295"/>
                <a:gd name="T55" fmla="*/ 151 h 238"/>
                <a:gd name="T56" fmla="*/ 201 w 295"/>
                <a:gd name="T57" fmla="*/ 79 h 238"/>
                <a:gd name="T58" fmla="*/ 206 w 295"/>
                <a:gd name="T59" fmla="*/ 84 h 238"/>
                <a:gd name="T60" fmla="*/ 204 w 295"/>
                <a:gd name="T61" fmla="*/ 90 h 238"/>
                <a:gd name="T62" fmla="*/ 104 w 295"/>
                <a:gd name="T63" fmla="*/ 162 h 238"/>
                <a:gd name="T64" fmla="*/ 122 w 295"/>
                <a:gd name="T65" fmla="*/ 183 h 238"/>
                <a:gd name="T66" fmla="*/ 117 w 295"/>
                <a:gd name="T67" fmla="*/ 182 h 238"/>
                <a:gd name="T68" fmla="*/ 114 w 295"/>
                <a:gd name="T69" fmla="*/ 176 h 238"/>
                <a:gd name="T70" fmla="*/ 213 w 295"/>
                <a:gd name="T71" fmla="*/ 102 h 238"/>
                <a:gd name="T72" fmla="*/ 220 w 295"/>
                <a:gd name="T73" fmla="*/ 102 h 238"/>
                <a:gd name="T74" fmla="*/ 222 w 295"/>
                <a:gd name="T75" fmla="*/ 108 h 238"/>
                <a:gd name="T76" fmla="*/ 271 w 295"/>
                <a:gd name="T77" fmla="*/ 74 h 238"/>
                <a:gd name="T78" fmla="*/ 232 w 295"/>
                <a:gd name="T79" fmla="*/ 20 h 238"/>
                <a:gd name="T80" fmla="*/ 239 w 295"/>
                <a:gd name="T81" fmla="*/ 18 h 238"/>
                <a:gd name="T82" fmla="*/ 250 w 295"/>
                <a:gd name="T83" fmla="*/ 23 h 238"/>
                <a:gd name="T84" fmla="*/ 276 w 295"/>
                <a:gd name="T85" fmla="*/ 6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5" h="238">
                  <a:moveTo>
                    <a:pt x="289" y="45"/>
                  </a:moveTo>
                  <a:lnTo>
                    <a:pt x="265" y="12"/>
                  </a:lnTo>
                  <a:lnTo>
                    <a:pt x="257" y="5"/>
                  </a:lnTo>
                  <a:lnTo>
                    <a:pt x="249" y="1"/>
                  </a:lnTo>
                  <a:lnTo>
                    <a:pt x="239" y="0"/>
                  </a:lnTo>
                  <a:lnTo>
                    <a:pt x="230" y="1"/>
                  </a:lnTo>
                  <a:lnTo>
                    <a:pt x="221" y="6"/>
                  </a:lnTo>
                  <a:lnTo>
                    <a:pt x="203" y="19"/>
                  </a:lnTo>
                  <a:lnTo>
                    <a:pt x="43" y="136"/>
                  </a:lnTo>
                  <a:lnTo>
                    <a:pt x="42" y="139"/>
                  </a:lnTo>
                  <a:lnTo>
                    <a:pt x="39" y="145"/>
                  </a:lnTo>
                  <a:lnTo>
                    <a:pt x="34" y="154"/>
                  </a:lnTo>
                  <a:lnTo>
                    <a:pt x="28" y="166"/>
                  </a:lnTo>
                  <a:lnTo>
                    <a:pt x="21" y="178"/>
                  </a:lnTo>
                  <a:lnTo>
                    <a:pt x="15" y="189"/>
                  </a:lnTo>
                  <a:lnTo>
                    <a:pt x="10" y="200"/>
                  </a:lnTo>
                  <a:lnTo>
                    <a:pt x="6" y="208"/>
                  </a:lnTo>
                  <a:lnTo>
                    <a:pt x="3" y="213"/>
                  </a:lnTo>
                  <a:lnTo>
                    <a:pt x="2" y="216"/>
                  </a:lnTo>
                  <a:lnTo>
                    <a:pt x="0" y="219"/>
                  </a:lnTo>
                  <a:lnTo>
                    <a:pt x="0" y="224"/>
                  </a:lnTo>
                  <a:lnTo>
                    <a:pt x="0" y="229"/>
                  </a:lnTo>
                  <a:lnTo>
                    <a:pt x="2" y="234"/>
                  </a:lnTo>
                  <a:lnTo>
                    <a:pt x="6" y="237"/>
                  </a:lnTo>
                  <a:lnTo>
                    <a:pt x="13" y="238"/>
                  </a:lnTo>
                  <a:lnTo>
                    <a:pt x="23" y="237"/>
                  </a:lnTo>
                  <a:lnTo>
                    <a:pt x="37" y="235"/>
                  </a:lnTo>
                  <a:lnTo>
                    <a:pt x="53" y="231"/>
                  </a:lnTo>
                  <a:lnTo>
                    <a:pt x="68" y="228"/>
                  </a:lnTo>
                  <a:lnTo>
                    <a:pt x="82" y="225"/>
                  </a:lnTo>
                  <a:lnTo>
                    <a:pt x="94" y="222"/>
                  </a:lnTo>
                  <a:lnTo>
                    <a:pt x="102" y="220"/>
                  </a:lnTo>
                  <a:lnTo>
                    <a:pt x="104" y="219"/>
                  </a:lnTo>
                  <a:lnTo>
                    <a:pt x="239" y="121"/>
                  </a:lnTo>
                  <a:lnTo>
                    <a:pt x="239" y="121"/>
                  </a:lnTo>
                  <a:lnTo>
                    <a:pt x="282" y="89"/>
                  </a:lnTo>
                  <a:lnTo>
                    <a:pt x="291" y="80"/>
                  </a:lnTo>
                  <a:lnTo>
                    <a:pt x="295" y="68"/>
                  </a:lnTo>
                  <a:lnTo>
                    <a:pt x="294" y="56"/>
                  </a:lnTo>
                  <a:lnTo>
                    <a:pt x="289" y="45"/>
                  </a:lnTo>
                  <a:close/>
                  <a:moveTo>
                    <a:pt x="37" y="218"/>
                  </a:moveTo>
                  <a:lnTo>
                    <a:pt x="34" y="211"/>
                  </a:lnTo>
                  <a:lnTo>
                    <a:pt x="29" y="206"/>
                  </a:lnTo>
                  <a:lnTo>
                    <a:pt x="25" y="202"/>
                  </a:lnTo>
                  <a:lnTo>
                    <a:pt x="29" y="195"/>
                  </a:lnTo>
                  <a:lnTo>
                    <a:pt x="33" y="187"/>
                  </a:lnTo>
                  <a:lnTo>
                    <a:pt x="37" y="179"/>
                  </a:lnTo>
                  <a:lnTo>
                    <a:pt x="41" y="172"/>
                  </a:lnTo>
                  <a:lnTo>
                    <a:pt x="43" y="168"/>
                  </a:lnTo>
                  <a:lnTo>
                    <a:pt x="44" y="166"/>
                  </a:lnTo>
                  <a:lnTo>
                    <a:pt x="77" y="210"/>
                  </a:lnTo>
                  <a:lnTo>
                    <a:pt x="74" y="210"/>
                  </a:lnTo>
                  <a:lnTo>
                    <a:pt x="68" y="212"/>
                  </a:lnTo>
                  <a:lnTo>
                    <a:pt x="59" y="214"/>
                  </a:lnTo>
                  <a:lnTo>
                    <a:pt x="48" y="216"/>
                  </a:lnTo>
                  <a:lnTo>
                    <a:pt x="37" y="218"/>
                  </a:lnTo>
                  <a:close/>
                  <a:moveTo>
                    <a:pt x="88" y="140"/>
                  </a:moveTo>
                  <a:lnTo>
                    <a:pt x="86" y="140"/>
                  </a:lnTo>
                  <a:lnTo>
                    <a:pt x="84" y="139"/>
                  </a:lnTo>
                  <a:lnTo>
                    <a:pt x="83" y="137"/>
                  </a:lnTo>
                  <a:lnTo>
                    <a:pt x="82" y="135"/>
                  </a:lnTo>
                  <a:lnTo>
                    <a:pt x="82" y="133"/>
                  </a:lnTo>
                  <a:lnTo>
                    <a:pt x="83" y="131"/>
                  </a:lnTo>
                  <a:lnTo>
                    <a:pt x="84" y="129"/>
                  </a:lnTo>
                  <a:lnTo>
                    <a:pt x="180" y="59"/>
                  </a:lnTo>
                  <a:lnTo>
                    <a:pt x="182" y="57"/>
                  </a:lnTo>
                  <a:lnTo>
                    <a:pt x="184" y="57"/>
                  </a:lnTo>
                  <a:lnTo>
                    <a:pt x="186" y="58"/>
                  </a:lnTo>
                  <a:lnTo>
                    <a:pt x="188" y="60"/>
                  </a:lnTo>
                  <a:lnTo>
                    <a:pt x="189" y="62"/>
                  </a:lnTo>
                  <a:lnTo>
                    <a:pt x="189" y="64"/>
                  </a:lnTo>
                  <a:lnTo>
                    <a:pt x="188" y="66"/>
                  </a:lnTo>
                  <a:lnTo>
                    <a:pt x="187" y="68"/>
                  </a:lnTo>
                  <a:lnTo>
                    <a:pt x="92" y="139"/>
                  </a:lnTo>
                  <a:lnTo>
                    <a:pt x="90" y="140"/>
                  </a:lnTo>
                  <a:lnTo>
                    <a:pt x="88" y="140"/>
                  </a:lnTo>
                  <a:close/>
                  <a:moveTo>
                    <a:pt x="104" y="162"/>
                  </a:moveTo>
                  <a:lnTo>
                    <a:pt x="102" y="161"/>
                  </a:lnTo>
                  <a:lnTo>
                    <a:pt x="101" y="161"/>
                  </a:lnTo>
                  <a:lnTo>
                    <a:pt x="99" y="159"/>
                  </a:lnTo>
                  <a:lnTo>
                    <a:pt x="98" y="157"/>
                  </a:lnTo>
                  <a:lnTo>
                    <a:pt x="98" y="155"/>
                  </a:lnTo>
                  <a:lnTo>
                    <a:pt x="99" y="152"/>
                  </a:lnTo>
                  <a:lnTo>
                    <a:pt x="100" y="151"/>
                  </a:lnTo>
                  <a:lnTo>
                    <a:pt x="196" y="80"/>
                  </a:lnTo>
                  <a:lnTo>
                    <a:pt x="199" y="79"/>
                  </a:lnTo>
                  <a:lnTo>
                    <a:pt x="201" y="79"/>
                  </a:lnTo>
                  <a:lnTo>
                    <a:pt x="203" y="80"/>
                  </a:lnTo>
                  <a:lnTo>
                    <a:pt x="205" y="82"/>
                  </a:lnTo>
                  <a:lnTo>
                    <a:pt x="206" y="84"/>
                  </a:lnTo>
                  <a:lnTo>
                    <a:pt x="206" y="86"/>
                  </a:lnTo>
                  <a:lnTo>
                    <a:pt x="206" y="88"/>
                  </a:lnTo>
                  <a:lnTo>
                    <a:pt x="204" y="90"/>
                  </a:lnTo>
                  <a:lnTo>
                    <a:pt x="108" y="160"/>
                  </a:lnTo>
                  <a:lnTo>
                    <a:pt x="106" y="161"/>
                  </a:lnTo>
                  <a:lnTo>
                    <a:pt x="104" y="162"/>
                  </a:lnTo>
                  <a:close/>
                  <a:moveTo>
                    <a:pt x="220" y="112"/>
                  </a:moveTo>
                  <a:lnTo>
                    <a:pt x="124" y="182"/>
                  </a:lnTo>
                  <a:lnTo>
                    <a:pt x="122" y="183"/>
                  </a:lnTo>
                  <a:lnTo>
                    <a:pt x="120" y="183"/>
                  </a:lnTo>
                  <a:lnTo>
                    <a:pt x="118" y="183"/>
                  </a:lnTo>
                  <a:lnTo>
                    <a:pt x="117" y="182"/>
                  </a:lnTo>
                  <a:lnTo>
                    <a:pt x="115" y="181"/>
                  </a:lnTo>
                  <a:lnTo>
                    <a:pt x="114" y="179"/>
                  </a:lnTo>
                  <a:lnTo>
                    <a:pt x="114" y="176"/>
                  </a:lnTo>
                  <a:lnTo>
                    <a:pt x="115" y="174"/>
                  </a:lnTo>
                  <a:lnTo>
                    <a:pt x="117" y="172"/>
                  </a:lnTo>
                  <a:lnTo>
                    <a:pt x="213" y="102"/>
                  </a:lnTo>
                  <a:lnTo>
                    <a:pt x="215" y="101"/>
                  </a:lnTo>
                  <a:lnTo>
                    <a:pt x="217" y="101"/>
                  </a:lnTo>
                  <a:lnTo>
                    <a:pt x="220" y="102"/>
                  </a:lnTo>
                  <a:lnTo>
                    <a:pt x="221" y="103"/>
                  </a:lnTo>
                  <a:lnTo>
                    <a:pt x="222" y="106"/>
                  </a:lnTo>
                  <a:lnTo>
                    <a:pt x="222" y="108"/>
                  </a:lnTo>
                  <a:lnTo>
                    <a:pt x="222" y="110"/>
                  </a:lnTo>
                  <a:lnTo>
                    <a:pt x="220" y="112"/>
                  </a:lnTo>
                  <a:close/>
                  <a:moveTo>
                    <a:pt x="271" y="74"/>
                  </a:moveTo>
                  <a:lnTo>
                    <a:pt x="253" y="88"/>
                  </a:lnTo>
                  <a:lnTo>
                    <a:pt x="213" y="34"/>
                  </a:lnTo>
                  <a:lnTo>
                    <a:pt x="232" y="20"/>
                  </a:lnTo>
                  <a:lnTo>
                    <a:pt x="235" y="19"/>
                  </a:lnTo>
                  <a:lnTo>
                    <a:pt x="237" y="18"/>
                  </a:lnTo>
                  <a:lnTo>
                    <a:pt x="239" y="18"/>
                  </a:lnTo>
                  <a:lnTo>
                    <a:pt x="243" y="18"/>
                  </a:lnTo>
                  <a:lnTo>
                    <a:pt x="247" y="20"/>
                  </a:lnTo>
                  <a:lnTo>
                    <a:pt x="250" y="23"/>
                  </a:lnTo>
                  <a:lnTo>
                    <a:pt x="274" y="56"/>
                  </a:lnTo>
                  <a:lnTo>
                    <a:pt x="277" y="62"/>
                  </a:lnTo>
                  <a:lnTo>
                    <a:pt x="276" y="69"/>
                  </a:lnTo>
                  <a:lnTo>
                    <a:pt x="271" y="7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4" name="Freeform 1963">
              <a:extLst>
                <a:ext uri="{FF2B5EF4-FFF2-40B4-BE49-F238E27FC236}">
                  <a16:creationId xmlns:a16="http://schemas.microsoft.com/office/drawing/2014/main" id="{E90C0236-FE1C-4837-82E0-E2F372DEE877}"/>
                </a:ext>
              </a:extLst>
            </p:cNvPr>
            <p:cNvSpPr>
              <a:spLocks/>
            </p:cNvSpPr>
            <p:nvPr/>
          </p:nvSpPr>
          <p:spPr bwMode="auto">
            <a:xfrm>
              <a:off x="3632201" y="5503863"/>
              <a:ext cx="180975" cy="39688"/>
            </a:xfrm>
            <a:custGeom>
              <a:avLst/>
              <a:gdLst>
                <a:gd name="T0" fmla="*/ 101 w 114"/>
                <a:gd name="T1" fmla="*/ 25 h 25"/>
                <a:gd name="T2" fmla="*/ 13 w 114"/>
                <a:gd name="T3" fmla="*/ 25 h 25"/>
                <a:gd name="T4" fmla="*/ 9 w 114"/>
                <a:gd name="T5" fmla="*/ 24 h 25"/>
                <a:gd name="T6" fmla="*/ 5 w 114"/>
                <a:gd name="T7" fmla="*/ 22 h 25"/>
                <a:gd name="T8" fmla="*/ 3 w 114"/>
                <a:gd name="T9" fmla="*/ 20 h 25"/>
                <a:gd name="T10" fmla="*/ 1 w 114"/>
                <a:gd name="T11" fmla="*/ 16 h 25"/>
                <a:gd name="T12" fmla="*/ 0 w 114"/>
                <a:gd name="T13" fmla="*/ 12 h 25"/>
                <a:gd name="T14" fmla="*/ 1 w 114"/>
                <a:gd name="T15" fmla="*/ 8 h 25"/>
                <a:gd name="T16" fmla="*/ 3 w 114"/>
                <a:gd name="T17" fmla="*/ 5 h 25"/>
                <a:gd name="T18" fmla="*/ 5 w 114"/>
                <a:gd name="T19" fmla="*/ 2 h 25"/>
                <a:gd name="T20" fmla="*/ 9 w 114"/>
                <a:gd name="T21" fmla="*/ 0 h 25"/>
                <a:gd name="T22" fmla="*/ 13 w 114"/>
                <a:gd name="T23" fmla="*/ 0 h 25"/>
                <a:gd name="T24" fmla="*/ 101 w 114"/>
                <a:gd name="T25" fmla="*/ 0 h 25"/>
                <a:gd name="T26" fmla="*/ 105 w 114"/>
                <a:gd name="T27" fmla="*/ 0 h 25"/>
                <a:gd name="T28" fmla="*/ 109 w 114"/>
                <a:gd name="T29" fmla="*/ 2 h 25"/>
                <a:gd name="T30" fmla="*/ 111 w 114"/>
                <a:gd name="T31" fmla="*/ 5 h 25"/>
                <a:gd name="T32" fmla="*/ 113 w 114"/>
                <a:gd name="T33" fmla="*/ 8 h 25"/>
                <a:gd name="T34" fmla="*/ 114 w 114"/>
                <a:gd name="T35" fmla="*/ 12 h 25"/>
                <a:gd name="T36" fmla="*/ 113 w 114"/>
                <a:gd name="T37" fmla="*/ 16 h 25"/>
                <a:gd name="T38" fmla="*/ 111 w 114"/>
                <a:gd name="T39" fmla="*/ 20 h 25"/>
                <a:gd name="T40" fmla="*/ 109 w 114"/>
                <a:gd name="T41" fmla="*/ 22 h 25"/>
                <a:gd name="T42" fmla="*/ 105 w 114"/>
                <a:gd name="T43" fmla="*/ 24 h 25"/>
                <a:gd name="T44" fmla="*/ 101 w 114"/>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25">
                  <a:moveTo>
                    <a:pt x="101" y="25"/>
                  </a:moveTo>
                  <a:lnTo>
                    <a:pt x="13" y="25"/>
                  </a:lnTo>
                  <a:lnTo>
                    <a:pt x="9" y="24"/>
                  </a:lnTo>
                  <a:lnTo>
                    <a:pt x="5" y="22"/>
                  </a:lnTo>
                  <a:lnTo>
                    <a:pt x="3" y="20"/>
                  </a:lnTo>
                  <a:lnTo>
                    <a:pt x="1" y="16"/>
                  </a:lnTo>
                  <a:lnTo>
                    <a:pt x="0" y="12"/>
                  </a:lnTo>
                  <a:lnTo>
                    <a:pt x="1" y="8"/>
                  </a:lnTo>
                  <a:lnTo>
                    <a:pt x="3" y="5"/>
                  </a:lnTo>
                  <a:lnTo>
                    <a:pt x="5" y="2"/>
                  </a:lnTo>
                  <a:lnTo>
                    <a:pt x="9" y="0"/>
                  </a:lnTo>
                  <a:lnTo>
                    <a:pt x="13" y="0"/>
                  </a:lnTo>
                  <a:lnTo>
                    <a:pt x="101" y="0"/>
                  </a:lnTo>
                  <a:lnTo>
                    <a:pt x="105" y="0"/>
                  </a:lnTo>
                  <a:lnTo>
                    <a:pt x="109" y="2"/>
                  </a:lnTo>
                  <a:lnTo>
                    <a:pt x="111" y="5"/>
                  </a:lnTo>
                  <a:lnTo>
                    <a:pt x="113" y="8"/>
                  </a:lnTo>
                  <a:lnTo>
                    <a:pt x="114" y="12"/>
                  </a:lnTo>
                  <a:lnTo>
                    <a:pt x="113" y="16"/>
                  </a:lnTo>
                  <a:lnTo>
                    <a:pt x="111" y="20"/>
                  </a:lnTo>
                  <a:lnTo>
                    <a:pt x="109" y="22"/>
                  </a:lnTo>
                  <a:lnTo>
                    <a:pt x="105" y="24"/>
                  </a:lnTo>
                  <a:lnTo>
                    <a:pt x="101"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5" name="Freeform 1964">
              <a:extLst>
                <a:ext uri="{FF2B5EF4-FFF2-40B4-BE49-F238E27FC236}">
                  <a16:creationId xmlns:a16="http://schemas.microsoft.com/office/drawing/2014/main" id="{4D8D7C37-4EF8-42A5-B848-5DFCBF046828}"/>
                </a:ext>
              </a:extLst>
            </p:cNvPr>
            <p:cNvSpPr>
              <a:spLocks/>
            </p:cNvSpPr>
            <p:nvPr/>
          </p:nvSpPr>
          <p:spPr bwMode="auto">
            <a:xfrm>
              <a:off x="3632201" y="5576888"/>
              <a:ext cx="303213" cy="39688"/>
            </a:xfrm>
            <a:custGeom>
              <a:avLst/>
              <a:gdLst>
                <a:gd name="T0" fmla="*/ 179 w 191"/>
                <a:gd name="T1" fmla="*/ 25 h 25"/>
                <a:gd name="T2" fmla="*/ 13 w 191"/>
                <a:gd name="T3" fmla="*/ 25 h 25"/>
                <a:gd name="T4" fmla="*/ 9 w 191"/>
                <a:gd name="T5" fmla="*/ 24 h 25"/>
                <a:gd name="T6" fmla="*/ 5 w 191"/>
                <a:gd name="T7" fmla="*/ 22 h 25"/>
                <a:gd name="T8" fmla="*/ 3 w 191"/>
                <a:gd name="T9" fmla="*/ 20 h 25"/>
                <a:gd name="T10" fmla="*/ 1 w 191"/>
                <a:gd name="T11" fmla="*/ 16 h 25"/>
                <a:gd name="T12" fmla="*/ 0 w 191"/>
                <a:gd name="T13" fmla="*/ 12 h 25"/>
                <a:gd name="T14" fmla="*/ 1 w 191"/>
                <a:gd name="T15" fmla="*/ 8 h 25"/>
                <a:gd name="T16" fmla="*/ 3 w 191"/>
                <a:gd name="T17" fmla="*/ 5 h 25"/>
                <a:gd name="T18" fmla="*/ 5 w 191"/>
                <a:gd name="T19" fmla="*/ 2 h 25"/>
                <a:gd name="T20" fmla="*/ 9 w 191"/>
                <a:gd name="T21" fmla="*/ 1 h 25"/>
                <a:gd name="T22" fmla="*/ 13 w 191"/>
                <a:gd name="T23" fmla="*/ 0 h 25"/>
                <a:gd name="T24" fmla="*/ 179 w 191"/>
                <a:gd name="T25" fmla="*/ 0 h 25"/>
                <a:gd name="T26" fmla="*/ 182 w 191"/>
                <a:gd name="T27" fmla="*/ 1 h 25"/>
                <a:gd name="T28" fmla="*/ 186 w 191"/>
                <a:gd name="T29" fmla="*/ 2 h 25"/>
                <a:gd name="T30" fmla="*/ 189 w 191"/>
                <a:gd name="T31" fmla="*/ 5 h 25"/>
                <a:gd name="T32" fmla="*/ 190 w 191"/>
                <a:gd name="T33" fmla="*/ 8 h 25"/>
                <a:gd name="T34" fmla="*/ 191 w 191"/>
                <a:gd name="T35" fmla="*/ 12 h 25"/>
                <a:gd name="T36" fmla="*/ 190 w 191"/>
                <a:gd name="T37" fmla="*/ 16 h 25"/>
                <a:gd name="T38" fmla="*/ 189 w 191"/>
                <a:gd name="T39" fmla="*/ 20 h 25"/>
                <a:gd name="T40" fmla="*/ 186 w 191"/>
                <a:gd name="T41" fmla="*/ 22 h 25"/>
                <a:gd name="T42" fmla="*/ 182 w 191"/>
                <a:gd name="T43" fmla="*/ 24 h 25"/>
                <a:gd name="T44" fmla="*/ 179 w 191"/>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25">
                  <a:moveTo>
                    <a:pt x="179" y="25"/>
                  </a:moveTo>
                  <a:lnTo>
                    <a:pt x="13" y="25"/>
                  </a:lnTo>
                  <a:lnTo>
                    <a:pt x="9" y="24"/>
                  </a:lnTo>
                  <a:lnTo>
                    <a:pt x="5" y="22"/>
                  </a:lnTo>
                  <a:lnTo>
                    <a:pt x="3" y="20"/>
                  </a:lnTo>
                  <a:lnTo>
                    <a:pt x="1" y="16"/>
                  </a:lnTo>
                  <a:lnTo>
                    <a:pt x="0" y="12"/>
                  </a:lnTo>
                  <a:lnTo>
                    <a:pt x="1" y="8"/>
                  </a:lnTo>
                  <a:lnTo>
                    <a:pt x="3" y="5"/>
                  </a:lnTo>
                  <a:lnTo>
                    <a:pt x="5" y="2"/>
                  </a:lnTo>
                  <a:lnTo>
                    <a:pt x="9" y="1"/>
                  </a:lnTo>
                  <a:lnTo>
                    <a:pt x="13" y="0"/>
                  </a:lnTo>
                  <a:lnTo>
                    <a:pt x="179" y="0"/>
                  </a:lnTo>
                  <a:lnTo>
                    <a:pt x="182" y="1"/>
                  </a:lnTo>
                  <a:lnTo>
                    <a:pt x="186" y="2"/>
                  </a:lnTo>
                  <a:lnTo>
                    <a:pt x="189" y="5"/>
                  </a:lnTo>
                  <a:lnTo>
                    <a:pt x="190" y="8"/>
                  </a:lnTo>
                  <a:lnTo>
                    <a:pt x="191" y="12"/>
                  </a:lnTo>
                  <a:lnTo>
                    <a:pt x="190" y="16"/>
                  </a:lnTo>
                  <a:lnTo>
                    <a:pt x="189" y="20"/>
                  </a:lnTo>
                  <a:lnTo>
                    <a:pt x="186" y="22"/>
                  </a:lnTo>
                  <a:lnTo>
                    <a:pt x="182" y="24"/>
                  </a:lnTo>
                  <a:lnTo>
                    <a:pt x="179"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6" name="Freeform 1965">
              <a:extLst>
                <a:ext uri="{FF2B5EF4-FFF2-40B4-BE49-F238E27FC236}">
                  <a16:creationId xmlns:a16="http://schemas.microsoft.com/office/drawing/2014/main" id="{3419DA4A-4B31-48E9-BC52-9E0E66D5131C}"/>
                </a:ext>
              </a:extLst>
            </p:cNvPr>
            <p:cNvSpPr>
              <a:spLocks/>
            </p:cNvSpPr>
            <p:nvPr/>
          </p:nvSpPr>
          <p:spPr bwMode="auto">
            <a:xfrm>
              <a:off x="3632201" y="5729288"/>
              <a:ext cx="180975" cy="39688"/>
            </a:xfrm>
            <a:custGeom>
              <a:avLst/>
              <a:gdLst>
                <a:gd name="T0" fmla="*/ 101 w 114"/>
                <a:gd name="T1" fmla="*/ 25 h 25"/>
                <a:gd name="T2" fmla="*/ 13 w 114"/>
                <a:gd name="T3" fmla="*/ 25 h 25"/>
                <a:gd name="T4" fmla="*/ 9 w 114"/>
                <a:gd name="T5" fmla="*/ 24 h 25"/>
                <a:gd name="T6" fmla="*/ 5 w 114"/>
                <a:gd name="T7" fmla="*/ 22 h 25"/>
                <a:gd name="T8" fmla="*/ 3 w 114"/>
                <a:gd name="T9" fmla="*/ 19 h 25"/>
                <a:gd name="T10" fmla="*/ 1 w 114"/>
                <a:gd name="T11" fmla="*/ 16 h 25"/>
                <a:gd name="T12" fmla="*/ 0 w 114"/>
                <a:gd name="T13" fmla="*/ 12 h 25"/>
                <a:gd name="T14" fmla="*/ 1 w 114"/>
                <a:gd name="T15" fmla="*/ 8 h 25"/>
                <a:gd name="T16" fmla="*/ 3 w 114"/>
                <a:gd name="T17" fmla="*/ 5 h 25"/>
                <a:gd name="T18" fmla="*/ 5 w 114"/>
                <a:gd name="T19" fmla="*/ 2 h 25"/>
                <a:gd name="T20" fmla="*/ 9 w 114"/>
                <a:gd name="T21" fmla="*/ 0 h 25"/>
                <a:gd name="T22" fmla="*/ 13 w 114"/>
                <a:gd name="T23" fmla="*/ 0 h 25"/>
                <a:gd name="T24" fmla="*/ 101 w 114"/>
                <a:gd name="T25" fmla="*/ 0 h 25"/>
                <a:gd name="T26" fmla="*/ 105 w 114"/>
                <a:gd name="T27" fmla="*/ 0 h 25"/>
                <a:gd name="T28" fmla="*/ 109 w 114"/>
                <a:gd name="T29" fmla="*/ 2 h 25"/>
                <a:gd name="T30" fmla="*/ 111 w 114"/>
                <a:gd name="T31" fmla="*/ 5 h 25"/>
                <a:gd name="T32" fmla="*/ 113 w 114"/>
                <a:gd name="T33" fmla="*/ 8 h 25"/>
                <a:gd name="T34" fmla="*/ 114 w 114"/>
                <a:gd name="T35" fmla="*/ 12 h 25"/>
                <a:gd name="T36" fmla="*/ 113 w 114"/>
                <a:gd name="T37" fmla="*/ 16 h 25"/>
                <a:gd name="T38" fmla="*/ 111 w 114"/>
                <a:gd name="T39" fmla="*/ 19 h 25"/>
                <a:gd name="T40" fmla="*/ 109 w 114"/>
                <a:gd name="T41" fmla="*/ 22 h 25"/>
                <a:gd name="T42" fmla="*/ 105 w 114"/>
                <a:gd name="T43" fmla="*/ 24 h 25"/>
                <a:gd name="T44" fmla="*/ 101 w 114"/>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25">
                  <a:moveTo>
                    <a:pt x="101" y="25"/>
                  </a:moveTo>
                  <a:lnTo>
                    <a:pt x="13" y="25"/>
                  </a:lnTo>
                  <a:lnTo>
                    <a:pt x="9" y="24"/>
                  </a:lnTo>
                  <a:lnTo>
                    <a:pt x="5" y="22"/>
                  </a:lnTo>
                  <a:lnTo>
                    <a:pt x="3" y="19"/>
                  </a:lnTo>
                  <a:lnTo>
                    <a:pt x="1" y="16"/>
                  </a:lnTo>
                  <a:lnTo>
                    <a:pt x="0" y="12"/>
                  </a:lnTo>
                  <a:lnTo>
                    <a:pt x="1" y="8"/>
                  </a:lnTo>
                  <a:lnTo>
                    <a:pt x="3" y="5"/>
                  </a:lnTo>
                  <a:lnTo>
                    <a:pt x="5" y="2"/>
                  </a:lnTo>
                  <a:lnTo>
                    <a:pt x="9" y="0"/>
                  </a:lnTo>
                  <a:lnTo>
                    <a:pt x="13" y="0"/>
                  </a:lnTo>
                  <a:lnTo>
                    <a:pt x="101" y="0"/>
                  </a:lnTo>
                  <a:lnTo>
                    <a:pt x="105" y="0"/>
                  </a:lnTo>
                  <a:lnTo>
                    <a:pt x="109" y="2"/>
                  </a:lnTo>
                  <a:lnTo>
                    <a:pt x="111" y="5"/>
                  </a:lnTo>
                  <a:lnTo>
                    <a:pt x="113" y="8"/>
                  </a:lnTo>
                  <a:lnTo>
                    <a:pt x="114" y="12"/>
                  </a:lnTo>
                  <a:lnTo>
                    <a:pt x="113" y="16"/>
                  </a:lnTo>
                  <a:lnTo>
                    <a:pt x="111" y="19"/>
                  </a:lnTo>
                  <a:lnTo>
                    <a:pt x="109" y="22"/>
                  </a:lnTo>
                  <a:lnTo>
                    <a:pt x="105" y="24"/>
                  </a:lnTo>
                  <a:lnTo>
                    <a:pt x="101"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sp>
          <p:nvSpPr>
            <p:cNvPr id="37" name="Freeform 1966">
              <a:extLst>
                <a:ext uri="{FF2B5EF4-FFF2-40B4-BE49-F238E27FC236}">
                  <a16:creationId xmlns:a16="http://schemas.microsoft.com/office/drawing/2014/main" id="{9ABBF52F-61BC-4EE1-9FFA-2E78E05C7A3E}"/>
                </a:ext>
              </a:extLst>
            </p:cNvPr>
            <p:cNvSpPr>
              <a:spLocks/>
            </p:cNvSpPr>
            <p:nvPr/>
          </p:nvSpPr>
          <p:spPr bwMode="auto">
            <a:xfrm>
              <a:off x="3632201" y="5802313"/>
              <a:ext cx="298450" cy="39688"/>
            </a:xfrm>
            <a:custGeom>
              <a:avLst/>
              <a:gdLst>
                <a:gd name="T0" fmla="*/ 175 w 188"/>
                <a:gd name="T1" fmla="*/ 25 h 25"/>
                <a:gd name="T2" fmla="*/ 13 w 188"/>
                <a:gd name="T3" fmla="*/ 25 h 25"/>
                <a:gd name="T4" fmla="*/ 9 w 188"/>
                <a:gd name="T5" fmla="*/ 24 h 25"/>
                <a:gd name="T6" fmla="*/ 5 w 188"/>
                <a:gd name="T7" fmla="*/ 22 h 25"/>
                <a:gd name="T8" fmla="*/ 3 w 188"/>
                <a:gd name="T9" fmla="*/ 20 h 25"/>
                <a:gd name="T10" fmla="*/ 1 w 188"/>
                <a:gd name="T11" fmla="*/ 16 h 25"/>
                <a:gd name="T12" fmla="*/ 0 w 188"/>
                <a:gd name="T13" fmla="*/ 12 h 25"/>
                <a:gd name="T14" fmla="*/ 1 w 188"/>
                <a:gd name="T15" fmla="*/ 8 h 25"/>
                <a:gd name="T16" fmla="*/ 3 w 188"/>
                <a:gd name="T17" fmla="*/ 5 h 25"/>
                <a:gd name="T18" fmla="*/ 5 w 188"/>
                <a:gd name="T19" fmla="*/ 2 h 25"/>
                <a:gd name="T20" fmla="*/ 9 w 188"/>
                <a:gd name="T21" fmla="*/ 0 h 25"/>
                <a:gd name="T22" fmla="*/ 13 w 188"/>
                <a:gd name="T23" fmla="*/ 0 h 25"/>
                <a:gd name="T24" fmla="*/ 175 w 188"/>
                <a:gd name="T25" fmla="*/ 0 h 25"/>
                <a:gd name="T26" fmla="*/ 179 w 188"/>
                <a:gd name="T27" fmla="*/ 0 h 25"/>
                <a:gd name="T28" fmla="*/ 183 w 188"/>
                <a:gd name="T29" fmla="*/ 2 h 25"/>
                <a:gd name="T30" fmla="*/ 185 w 188"/>
                <a:gd name="T31" fmla="*/ 5 h 25"/>
                <a:gd name="T32" fmla="*/ 187 w 188"/>
                <a:gd name="T33" fmla="*/ 8 h 25"/>
                <a:gd name="T34" fmla="*/ 188 w 188"/>
                <a:gd name="T35" fmla="*/ 12 h 25"/>
                <a:gd name="T36" fmla="*/ 187 w 188"/>
                <a:gd name="T37" fmla="*/ 16 h 25"/>
                <a:gd name="T38" fmla="*/ 185 w 188"/>
                <a:gd name="T39" fmla="*/ 20 h 25"/>
                <a:gd name="T40" fmla="*/ 183 w 188"/>
                <a:gd name="T41" fmla="*/ 22 h 25"/>
                <a:gd name="T42" fmla="*/ 179 w 188"/>
                <a:gd name="T43" fmla="*/ 24 h 25"/>
                <a:gd name="T44" fmla="*/ 175 w 188"/>
                <a:gd name="T4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8" h="25">
                  <a:moveTo>
                    <a:pt x="175" y="25"/>
                  </a:moveTo>
                  <a:lnTo>
                    <a:pt x="13" y="25"/>
                  </a:lnTo>
                  <a:lnTo>
                    <a:pt x="9" y="24"/>
                  </a:lnTo>
                  <a:lnTo>
                    <a:pt x="5" y="22"/>
                  </a:lnTo>
                  <a:lnTo>
                    <a:pt x="3" y="20"/>
                  </a:lnTo>
                  <a:lnTo>
                    <a:pt x="1" y="16"/>
                  </a:lnTo>
                  <a:lnTo>
                    <a:pt x="0" y="12"/>
                  </a:lnTo>
                  <a:lnTo>
                    <a:pt x="1" y="8"/>
                  </a:lnTo>
                  <a:lnTo>
                    <a:pt x="3" y="5"/>
                  </a:lnTo>
                  <a:lnTo>
                    <a:pt x="5" y="2"/>
                  </a:lnTo>
                  <a:lnTo>
                    <a:pt x="9" y="0"/>
                  </a:lnTo>
                  <a:lnTo>
                    <a:pt x="13" y="0"/>
                  </a:lnTo>
                  <a:lnTo>
                    <a:pt x="175" y="0"/>
                  </a:lnTo>
                  <a:lnTo>
                    <a:pt x="179" y="0"/>
                  </a:lnTo>
                  <a:lnTo>
                    <a:pt x="183" y="2"/>
                  </a:lnTo>
                  <a:lnTo>
                    <a:pt x="185" y="5"/>
                  </a:lnTo>
                  <a:lnTo>
                    <a:pt x="187" y="8"/>
                  </a:lnTo>
                  <a:lnTo>
                    <a:pt x="188" y="12"/>
                  </a:lnTo>
                  <a:lnTo>
                    <a:pt x="187" y="16"/>
                  </a:lnTo>
                  <a:lnTo>
                    <a:pt x="185" y="20"/>
                  </a:lnTo>
                  <a:lnTo>
                    <a:pt x="183" y="22"/>
                  </a:lnTo>
                  <a:lnTo>
                    <a:pt x="179" y="24"/>
                  </a:lnTo>
                  <a:lnTo>
                    <a:pt x="17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srgbClr val="717074"/>
                </a:solidFill>
              </a:endParaRPr>
            </a:p>
          </p:txBody>
        </p:sp>
      </p:grpSp>
      <p:pic>
        <p:nvPicPr>
          <p:cNvPr id="38" name="Picture 37">
            <a:extLst>
              <a:ext uri="{FF2B5EF4-FFF2-40B4-BE49-F238E27FC236}">
                <a16:creationId xmlns:a16="http://schemas.microsoft.com/office/drawing/2014/main" id="{C8A5773A-F091-45EC-B52F-4C064A38775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1521" y="1073595"/>
            <a:ext cx="3524245" cy="681823"/>
          </a:xfrm>
          <a:prstGeom prst="rect">
            <a:avLst/>
          </a:prstGeom>
        </p:spPr>
      </p:pic>
      <p:sp>
        <p:nvSpPr>
          <p:cNvPr id="39" name="TextBox 38">
            <a:extLst>
              <a:ext uri="{FF2B5EF4-FFF2-40B4-BE49-F238E27FC236}">
                <a16:creationId xmlns:a16="http://schemas.microsoft.com/office/drawing/2014/main" id="{F8252CBF-8796-4E79-A5CD-E654FFC74729}"/>
              </a:ext>
            </a:extLst>
          </p:cNvPr>
          <p:cNvSpPr txBox="1"/>
          <p:nvPr/>
        </p:nvSpPr>
        <p:spPr>
          <a:xfrm>
            <a:off x="1685544" y="1106941"/>
            <a:ext cx="1605995" cy="3600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Description</a:t>
            </a:r>
            <a:endParaRPr lang="en-US" sz="1800">
              <a:solidFill>
                <a:srgbClr val="717074"/>
              </a:solidFill>
            </a:endParaRPr>
          </a:p>
        </p:txBody>
      </p:sp>
      <p:pic>
        <p:nvPicPr>
          <p:cNvPr id="47" name="Picture 46">
            <a:extLst>
              <a:ext uri="{FF2B5EF4-FFF2-40B4-BE49-F238E27FC236}">
                <a16:creationId xmlns:a16="http://schemas.microsoft.com/office/drawing/2014/main" id="{ED52F3BC-37C9-4E4B-8F67-44C2A735708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6675" y="2372986"/>
            <a:ext cx="3459091" cy="502371"/>
          </a:xfrm>
          <a:prstGeom prst="rect">
            <a:avLst/>
          </a:prstGeom>
        </p:spPr>
      </p:pic>
      <p:sp>
        <p:nvSpPr>
          <p:cNvPr id="49" name="TextBox 48">
            <a:extLst>
              <a:ext uri="{FF2B5EF4-FFF2-40B4-BE49-F238E27FC236}">
                <a16:creationId xmlns:a16="http://schemas.microsoft.com/office/drawing/2014/main" id="{11EED3F2-4C11-48B6-8F1F-03EBA6B44D2A}"/>
              </a:ext>
            </a:extLst>
          </p:cNvPr>
          <p:cNvSpPr txBox="1"/>
          <p:nvPr/>
        </p:nvSpPr>
        <p:spPr>
          <a:xfrm>
            <a:off x="1068868" y="2457296"/>
            <a:ext cx="1605995" cy="304800"/>
          </a:xfrm>
          <a:prstGeom prst="rect">
            <a:avLst/>
          </a:prstGeom>
          <a:noFill/>
        </p:spPr>
        <p:txBody>
          <a:bodyPr wrap="none" lIns="0" tIns="0" rIns="0" bIns="0" rtlCol="0" anchor="ctr">
            <a:noAutofit/>
          </a:bodyPr>
          <a:lstStyle>
            <a:defPPr>
              <a:defRPr lang="en-US"/>
            </a:defPPr>
            <a:lvl1pPr lvl="0" indent="92075" eaLnBrk="0" fontAlgn="base" hangingPunct="0">
              <a:spcBef>
                <a:spcPts val="400"/>
              </a:spcBef>
              <a:spcAft>
                <a:spcPts val="900"/>
              </a:spcAft>
              <a:defRPr sz="1200" b="1">
                <a:solidFill>
                  <a:prstClr val="white"/>
                </a:solidFill>
                <a:ea typeface="Verdana" panose="020B0604030504040204" pitchFamily="34" charset="0"/>
                <a:cs typeface="Verdana" panose="020B0604030504040204" pitchFamily="34" charset="0"/>
              </a:defRPr>
            </a:lvl1pPr>
          </a:lstStyle>
          <a:p>
            <a:pPr defTabSz="914400"/>
            <a:r>
              <a:rPr lang="en-AU" altLang="en-US"/>
              <a:t>Audience</a:t>
            </a:r>
            <a:endParaRPr lang="en-US"/>
          </a:p>
        </p:txBody>
      </p:sp>
      <p:pic>
        <p:nvPicPr>
          <p:cNvPr id="70" name="Picture 69">
            <a:extLst>
              <a:ext uri="{FF2B5EF4-FFF2-40B4-BE49-F238E27FC236}">
                <a16:creationId xmlns:a16="http://schemas.microsoft.com/office/drawing/2014/main" id="{AF56B7E6-43E1-4250-B66D-D347CDCD011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2540" y="4163015"/>
            <a:ext cx="3459091" cy="502371"/>
          </a:xfrm>
          <a:prstGeom prst="rect">
            <a:avLst/>
          </a:prstGeom>
        </p:spPr>
      </p:pic>
      <p:sp>
        <p:nvSpPr>
          <p:cNvPr id="71" name="TextBox 70">
            <a:extLst>
              <a:ext uri="{FF2B5EF4-FFF2-40B4-BE49-F238E27FC236}">
                <a16:creationId xmlns:a16="http://schemas.microsoft.com/office/drawing/2014/main" id="{162FFDF4-28D7-4DB8-A796-D646E5B6FE41}"/>
              </a:ext>
            </a:extLst>
          </p:cNvPr>
          <p:cNvSpPr txBox="1"/>
          <p:nvPr/>
        </p:nvSpPr>
        <p:spPr>
          <a:xfrm>
            <a:off x="1001936" y="4217642"/>
            <a:ext cx="1605995" cy="3600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Overview</a:t>
            </a:r>
          </a:p>
        </p:txBody>
      </p:sp>
      <p:sp>
        <p:nvSpPr>
          <p:cNvPr id="75" name="Rectangle 74">
            <a:extLst>
              <a:ext uri="{FF2B5EF4-FFF2-40B4-BE49-F238E27FC236}">
                <a16:creationId xmlns:a16="http://schemas.microsoft.com/office/drawing/2014/main" id="{7549D3A6-61C2-4EC2-A2EE-A17119E59DB6}"/>
              </a:ext>
            </a:extLst>
          </p:cNvPr>
          <p:cNvSpPr/>
          <p:nvPr/>
        </p:nvSpPr>
        <p:spPr>
          <a:xfrm>
            <a:off x="334347" y="4665386"/>
            <a:ext cx="3500247" cy="938719"/>
          </a:xfrm>
          <a:prstGeom prst="rect">
            <a:avLst/>
          </a:prstGeom>
        </p:spPr>
        <p:txBody>
          <a:bodyPr wrap="square" anchor="t">
            <a:spAutoFit/>
          </a:bodyPr>
          <a:lstStyle/>
          <a:p>
            <a:pPr defTabSz="914400"/>
            <a:r>
              <a:rPr lang="de-DE" sz="1100" b="1"/>
              <a:t>Context</a:t>
            </a:r>
            <a:endParaRPr lang="en-US"/>
          </a:p>
          <a:p>
            <a:pPr defTabSz="914400"/>
            <a:endParaRPr lang="en-US" sz="1100">
              <a:ea typeface="ＭＳ Ｐゴシック" pitchFamily="34" charset="-128"/>
            </a:endParaRPr>
          </a:p>
          <a:p>
            <a:pPr defTabSz="914400"/>
            <a:r>
              <a:rPr lang="en-US" sz="1100">
                <a:ea typeface="ＭＳ Ｐゴシック"/>
              </a:rPr>
              <a:t>Problem record can be created out of an incident record or case record in order to find a long-term solution for an issue. </a:t>
            </a:r>
            <a:endParaRPr lang="en-US" sz="1100">
              <a:ea typeface="ＭＳ Ｐゴシック" pitchFamily="34" charset="-128"/>
              <a:cs typeface="Arial"/>
            </a:endParaRPr>
          </a:p>
        </p:txBody>
      </p:sp>
      <p:grpSp>
        <p:nvGrpSpPr>
          <p:cNvPr id="83" name="Group 82">
            <a:extLst>
              <a:ext uri="{FF2B5EF4-FFF2-40B4-BE49-F238E27FC236}">
                <a16:creationId xmlns:a16="http://schemas.microsoft.com/office/drawing/2014/main" id="{055F843A-E40F-42FD-AAE4-9FF10C8BA25E}"/>
              </a:ext>
            </a:extLst>
          </p:cNvPr>
          <p:cNvGrpSpPr/>
          <p:nvPr/>
        </p:nvGrpSpPr>
        <p:grpSpPr>
          <a:xfrm>
            <a:off x="4266232" y="1040912"/>
            <a:ext cx="3530229" cy="555279"/>
            <a:chOff x="3150020" y="633645"/>
            <a:chExt cx="3032760" cy="555279"/>
          </a:xfrm>
        </p:grpSpPr>
        <p:sp>
          <p:nvSpPr>
            <p:cNvPr id="84" name="Rectangle 83">
              <a:extLst>
                <a:ext uri="{FF2B5EF4-FFF2-40B4-BE49-F238E27FC236}">
                  <a16:creationId xmlns:a16="http://schemas.microsoft.com/office/drawing/2014/main" id="{A6620758-1DE2-4EE5-BB9F-C0F6C1790E6E}"/>
                </a:ext>
              </a:extLst>
            </p:cNvPr>
            <p:cNvSpPr/>
            <p:nvPr/>
          </p:nvSpPr>
          <p:spPr bwMode="gray">
            <a:xfrm>
              <a:off x="3150020" y="633645"/>
              <a:ext cx="3032760" cy="45719"/>
            </a:xfrm>
            <a:prstGeom prst="rect">
              <a:avLst/>
            </a:prstGeom>
            <a:solidFill>
              <a:srgbClr val="FBB24B"/>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85" name="Rectangle 84">
              <a:extLst>
                <a:ext uri="{FF2B5EF4-FFF2-40B4-BE49-F238E27FC236}">
                  <a16:creationId xmlns:a16="http://schemas.microsoft.com/office/drawing/2014/main" id="{4B14670A-17F5-43F2-9C32-2629582A43F0}"/>
                </a:ext>
              </a:extLst>
            </p:cNvPr>
            <p:cNvSpPr/>
            <p:nvPr/>
          </p:nvSpPr>
          <p:spPr bwMode="gray">
            <a:xfrm flipV="1">
              <a:off x="3150020" y="679364"/>
              <a:ext cx="3032760" cy="457200"/>
            </a:xfrm>
            <a:prstGeom prst="rect">
              <a:avLst/>
            </a:prstGeom>
            <a:solidFill>
              <a:srgbClr val="0095D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86" name="TextBox 85">
              <a:extLst>
                <a:ext uri="{FF2B5EF4-FFF2-40B4-BE49-F238E27FC236}">
                  <a16:creationId xmlns:a16="http://schemas.microsoft.com/office/drawing/2014/main" id="{5A878B44-0C9A-43D2-84F3-8B894F6DD98E}"/>
                </a:ext>
              </a:extLst>
            </p:cNvPr>
            <p:cNvSpPr txBox="1"/>
            <p:nvPr/>
          </p:nvSpPr>
          <p:spPr>
            <a:xfrm>
              <a:off x="4014614" y="715635"/>
              <a:ext cx="1371600" cy="360000"/>
            </a:xfrm>
            <a:prstGeom prst="rect">
              <a:avLst/>
            </a:prstGeom>
            <a:noFill/>
          </p:spPr>
          <p:txBody>
            <a:bodyPr wrap="none" lIns="0" tIns="0" rIns="0" bIns="0" rtlCol="0" anchor="ctr">
              <a:noAutofit/>
            </a:bodyPr>
            <a:lstStyle/>
            <a:p>
              <a:pPr lvl="0" indent="92075"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Explanation &amp; Related Terms</a:t>
              </a:r>
            </a:p>
          </p:txBody>
        </p:sp>
        <p:sp>
          <p:nvSpPr>
            <p:cNvPr id="87" name="Isosceles Triangle 86">
              <a:extLst>
                <a:ext uri="{FF2B5EF4-FFF2-40B4-BE49-F238E27FC236}">
                  <a16:creationId xmlns:a16="http://schemas.microsoft.com/office/drawing/2014/main" id="{A07BD9D9-F4B5-4771-8519-1F26B6EE2CEF}"/>
                </a:ext>
              </a:extLst>
            </p:cNvPr>
            <p:cNvSpPr/>
            <p:nvPr/>
          </p:nvSpPr>
          <p:spPr>
            <a:xfrm flipV="1">
              <a:off x="5785619" y="984544"/>
              <a:ext cx="396938" cy="204380"/>
            </a:xfrm>
            <a:prstGeom prst="triangle">
              <a:avLst/>
            </a:prstGeom>
            <a:solidFill>
              <a:srgbClr val="0095D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99" name="Illustration" descr="Example of an illustration" title="Illustration for title slide">
            <a:extLst>
              <a:ext uri="{FF2B5EF4-FFF2-40B4-BE49-F238E27FC236}">
                <a16:creationId xmlns:a16="http://schemas.microsoft.com/office/drawing/2014/main" id="{8F1690E4-F0A3-432F-A8C5-ADFF9F911587}"/>
              </a:ext>
            </a:extLst>
          </p:cNvPr>
          <p:cNvPicPr>
            <a:picLocks noChangeAspect="1"/>
          </p:cNvPicPr>
          <p:nvPr/>
        </p:nvPicPr>
        <p:blipFill rotWithShape="1">
          <a:blip r:embed="rId10"/>
          <a:srcRect l="70221" t="59532" r="26482" b="26655"/>
          <a:stretch/>
        </p:blipFill>
        <p:spPr bwMode="gray">
          <a:xfrm>
            <a:off x="1238797" y="1025071"/>
            <a:ext cx="413965" cy="449277"/>
          </a:xfrm>
          <a:prstGeom prst="rect">
            <a:avLst/>
          </a:prstGeom>
          <a:noFill/>
        </p:spPr>
      </p:pic>
      <p:pic>
        <p:nvPicPr>
          <p:cNvPr id="100" name="Picture 99">
            <a:extLst>
              <a:ext uri="{FF2B5EF4-FFF2-40B4-BE49-F238E27FC236}">
                <a16:creationId xmlns:a16="http://schemas.microsoft.com/office/drawing/2014/main" id="{60765153-FD05-41F0-AEC1-D721534E38E4}"/>
              </a:ext>
            </a:extLst>
          </p:cNvPr>
          <p:cNvPicPr>
            <a:picLocks noChangeAspect="1"/>
          </p:cNvPicPr>
          <p:nvPr/>
        </p:nvPicPr>
        <p:blipFill>
          <a:blip r:embed="rId11"/>
          <a:stretch>
            <a:fillRect/>
          </a:stretch>
        </p:blipFill>
        <p:spPr>
          <a:xfrm>
            <a:off x="4245847" y="756444"/>
            <a:ext cx="1104390" cy="1104390"/>
          </a:xfrm>
          <a:prstGeom prst="rect">
            <a:avLst/>
          </a:prstGeom>
        </p:spPr>
      </p:pic>
      <p:pic>
        <p:nvPicPr>
          <p:cNvPr id="106" name="Picture 105">
            <a:extLst>
              <a:ext uri="{FF2B5EF4-FFF2-40B4-BE49-F238E27FC236}">
                <a16:creationId xmlns:a16="http://schemas.microsoft.com/office/drawing/2014/main" id="{16D3741E-9674-4F69-B92E-84206CF0A9DE}"/>
              </a:ext>
            </a:extLst>
          </p:cNvPr>
          <p:cNvPicPr>
            <a:picLocks noChangeAspect="1"/>
          </p:cNvPicPr>
          <p:nvPr/>
        </p:nvPicPr>
        <p:blipFill>
          <a:blip r:embed="rId12"/>
          <a:stretch>
            <a:fillRect/>
          </a:stretch>
        </p:blipFill>
        <p:spPr>
          <a:xfrm>
            <a:off x="369657" y="4094766"/>
            <a:ext cx="666403" cy="636330"/>
          </a:xfrm>
          <a:prstGeom prst="rect">
            <a:avLst/>
          </a:prstGeom>
        </p:spPr>
      </p:pic>
      <p:grpSp>
        <p:nvGrpSpPr>
          <p:cNvPr id="107" name="Group 5">
            <a:extLst>
              <a:ext uri="{FF2B5EF4-FFF2-40B4-BE49-F238E27FC236}">
                <a16:creationId xmlns:a16="http://schemas.microsoft.com/office/drawing/2014/main" id="{F7B1E092-42EE-4B98-BE93-5060B09B0E56}"/>
              </a:ext>
            </a:extLst>
          </p:cNvPr>
          <p:cNvGrpSpPr>
            <a:grpSpLocks noChangeAspect="1"/>
          </p:cNvGrpSpPr>
          <p:nvPr/>
        </p:nvGrpSpPr>
        <p:grpSpPr bwMode="auto">
          <a:xfrm>
            <a:off x="453198" y="2444823"/>
            <a:ext cx="423854" cy="356441"/>
            <a:chOff x="471" y="958"/>
            <a:chExt cx="269" cy="265"/>
          </a:xfrm>
          <a:solidFill>
            <a:schemeClr val="accent1"/>
          </a:solidFill>
        </p:grpSpPr>
        <p:sp>
          <p:nvSpPr>
            <p:cNvPr id="108" name="Freeform 6">
              <a:extLst>
                <a:ext uri="{FF2B5EF4-FFF2-40B4-BE49-F238E27FC236}">
                  <a16:creationId xmlns:a16="http://schemas.microsoft.com/office/drawing/2014/main" id="{54B29DB9-39DA-4152-A637-8F597DD26ED0}"/>
                </a:ext>
              </a:extLst>
            </p:cNvPr>
            <p:cNvSpPr>
              <a:spLocks noEditPoints="1"/>
            </p:cNvSpPr>
            <p:nvPr/>
          </p:nvSpPr>
          <p:spPr bwMode="auto">
            <a:xfrm>
              <a:off x="471" y="1096"/>
              <a:ext cx="269" cy="127"/>
            </a:xfrm>
            <a:custGeom>
              <a:avLst/>
              <a:gdLst>
                <a:gd name="T0" fmla="*/ 793 w 1586"/>
                <a:gd name="T1" fmla="*/ 55 h 746"/>
                <a:gd name="T2" fmla="*/ 975 w 1586"/>
                <a:gd name="T3" fmla="*/ 245 h 746"/>
                <a:gd name="T4" fmla="*/ 1095 w 1586"/>
                <a:gd name="T5" fmla="*/ 0 h 746"/>
                <a:gd name="T6" fmla="*/ 1333 w 1586"/>
                <a:gd name="T7" fmla="*/ 81 h 746"/>
                <a:gd name="T8" fmla="*/ 1458 w 1586"/>
                <a:gd name="T9" fmla="*/ 155 h 746"/>
                <a:gd name="T10" fmla="*/ 1519 w 1586"/>
                <a:gd name="T11" fmla="*/ 234 h 746"/>
                <a:gd name="T12" fmla="*/ 1568 w 1586"/>
                <a:gd name="T13" fmla="*/ 508 h 746"/>
                <a:gd name="T14" fmla="*/ 1586 w 1586"/>
                <a:gd name="T15" fmla="*/ 746 h 746"/>
                <a:gd name="T16" fmla="*/ 1302 w 1586"/>
                <a:gd name="T17" fmla="*/ 746 h 746"/>
                <a:gd name="T18" fmla="*/ 1299 w 1586"/>
                <a:gd name="T19" fmla="*/ 592 h 746"/>
                <a:gd name="T20" fmla="*/ 1201 w 1586"/>
                <a:gd name="T21" fmla="*/ 592 h 746"/>
                <a:gd name="T22" fmla="*/ 1201 w 1586"/>
                <a:gd name="T23" fmla="*/ 746 h 746"/>
                <a:gd name="T24" fmla="*/ 385 w 1586"/>
                <a:gd name="T25" fmla="*/ 746 h 746"/>
                <a:gd name="T26" fmla="*/ 385 w 1586"/>
                <a:gd name="T27" fmla="*/ 592 h 746"/>
                <a:gd name="T28" fmla="*/ 287 w 1586"/>
                <a:gd name="T29" fmla="*/ 592 h 746"/>
                <a:gd name="T30" fmla="*/ 285 w 1586"/>
                <a:gd name="T31" fmla="*/ 746 h 746"/>
                <a:gd name="T32" fmla="*/ 0 w 1586"/>
                <a:gd name="T33" fmla="*/ 746 h 746"/>
                <a:gd name="T34" fmla="*/ 18 w 1586"/>
                <a:gd name="T35" fmla="*/ 508 h 746"/>
                <a:gd name="T36" fmla="*/ 67 w 1586"/>
                <a:gd name="T37" fmla="*/ 234 h 746"/>
                <a:gd name="T38" fmla="*/ 128 w 1586"/>
                <a:gd name="T39" fmla="*/ 155 h 746"/>
                <a:gd name="T40" fmla="*/ 253 w 1586"/>
                <a:gd name="T41" fmla="*/ 81 h 746"/>
                <a:gd name="T42" fmla="*/ 491 w 1586"/>
                <a:gd name="T43" fmla="*/ 0 h 746"/>
                <a:gd name="T44" fmla="*/ 612 w 1586"/>
                <a:gd name="T45" fmla="*/ 245 h 746"/>
                <a:gd name="T46" fmla="*/ 793 w 1586"/>
                <a:gd name="T47" fmla="*/ 55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86" h="746">
                  <a:moveTo>
                    <a:pt x="793" y="55"/>
                  </a:moveTo>
                  <a:cubicBezTo>
                    <a:pt x="854" y="118"/>
                    <a:pt x="914" y="182"/>
                    <a:pt x="975" y="245"/>
                  </a:cubicBezTo>
                  <a:cubicBezTo>
                    <a:pt x="1015" y="163"/>
                    <a:pt x="1055" y="82"/>
                    <a:pt x="1095" y="0"/>
                  </a:cubicBezTo>
                  <a:cubicBezTo>
                    <a:pt x="1183" y="27"/>
                    <a:pt x="1271" y="55"/>
                    <a:pt x="1333" y="81"/>
                  </a:cubicBezTo>
                  <a:cubicBezTo>
                    <a:pt x="1395" y="106"/>
                    <a:pt x="1431" y="131"/>
                    <a:pt x="1458" y="155"/>
                  </a:cubicBezTo>
                  <a:cubicBezTo>
                    <a:pt x="1485" y="179"/>
                    <a:pt x="1503" y="202"/>
                    <a:pt x="1519" y="234"/>
                  </a:cubicBezTo>
                  <a:cubicBezTo>
                    <a:pt x="1536" y="265"/>
                    <a:pt x="1550" y="305"/>
                    <a:pt x="1568" y="508"/>
                  </a:cubicBezTo>
                  <a:cubicBezTo>
                    <a:pt x="1574" y="573"/>
                    <a:pt x="1580" y="654"/>
                    <a:pt x="1586" y="746"/>
                  </a:cubicBezTo>
                  <a:moveTo>
                    <a:pt x="1302" y="746"/>
                  </a:moveTo>
                  <a:cubicBezTo>
                    <a:pt x="1301" y="695"/>
                    <a:pt x="1300" y="643"/>
                    <a:pt x="1299" y="592"/>
                  </a:cubicBezTo>
                  <a:cubicBezTo>
                    <a:pt x="1266" y="559"/>
                    <a:pt x="1233" y="561"/>
                    <a:pt x="1201" y="592"/>
                  </a:cubicBezTo>
                  <a:cubicBezTo>
                    <a:pt x="1201" y="643"/>
                    <a:pt x="1201" y="694"/>
                    <a:pt x="1201" y="746"/>
                  </a:cubicBezTo>
                  <a:moveTo>
                    <a:pt x="385" y="746"/>
                  </a:moveTo>
                  <a:cubicBezTo>
                    <a:pt x="385" y="694"/>
                    <a:pt x="385" y="643"/>
                    <a:pt x="385" y="592"/>
                  </a:cubicBezTo>
                  <a:cubicBezTo>
                    <a:pt x="352" y="561"/>
                    <a:pt x="320" y="557"/>
                    <a:pt x="287" y="592"/>
                  </a:cubicBezTo>
                  <a:cubicBezTo>
                    <a:pt x="286" y="643"/>
                    <a:pt x="286" y="695"/>
                    <a:pt x="285" y="746"/>
                  </a:cubicBezTo>
                  <a:moveTo>
                    <a:pt x="0" y="746"/>
                  </a:moveTo>
                  <a:cubicBezTo>
                    <a:pt x="6" y="654"/>
                    <a:pt x="12" y="573"/>
                    <a:pt x="18" y="508"/>
                  </a:cubicBezTo>
                  <a:cubicBezTo>
                    <a:pt x="36" y="305"/>
                    <a:pt x="50" y="265"/>
                    <a:pt x="67" y="234"/>
                  </a:cubicBezTo>
                  <a:cubicBezTo>
                    <a:pt x="83" y="202"/>
                    <a:pt x="101" y="179"/>
                    <a:pt x="128" y="155"/>
                  </a:cubicBezTo>
                  <a:cubicBezTo>
                    <a:pt x="155" y="131"/>
                    <a:pt x="191" y="106"/>
                    <a:pt x="253" y="81"/>
                  </a:cubicBezTo>
                  <a:cubicBezTo>
                    <a:pt x="315" y="55"/>
                    <a:pt x="403" y="27"/>
                    <a:pt x="491" y="0"/>
                  </a:cubicBezTo>
                  <a:cubicBezTo>
                    <a:pt x="531" y="82"/>
                    <a:pt x="571" y="163"/>
                    <a:pt x="612" y="245"/>
                  </a:cubicBezTo>
                  <a:cubicBezTo>
                    <a:pt x="672" y="182"/>
                    <a:pt x="733" y="118"/>
                    <a:pt x="793" y="55"/>
                  </a:cubicBezTo>
                </a:path>
              </a:pathLst>
            </a:custGeom>
            <a:grpFill/>
            <a:ln w="12700"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sp>
          <p:nvSpPr>
            <p:cNvPr id="109" name="Oval 7">
              <a:extLst>
                <a:ext uri="{FF2B5EF4-FFF2-40B4-BE49-F238E27FC236}">
                  <a16:creationId xmlns:a16="http://schemas.microsoft.com/office/drawing/2014/main" id="{50078655-C2F9-4ACE-A5E3-4C4DCD242528}"/>
                </a:ext>
              </a:extLst>
            </p:cNvPr>
            <p:cNvSpPr>
              <a:spLocks noChangeArrowheads="1"/>
            </p:cNvSpPr>
            <p:nvPr/>
          </p:nvSpPr>
          <p:spPr bwMode="auto">
            <a:xfrm>
              <a:off x="542" y="958"/>
              <a:ext cx="126" cy="126"/>
            </a:xfrm>
            <a:prstGeom prst="ellipse">
              <a:avLst/>
            </a:prstGeom>
            <a:grpFill/>
            <a:ln w="127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sp>
          <p:nvSpPr>
            <p:cNvPr id="110" name="Freeform 8">
              <a:extLst>
                <a:ext uri="{FF2B5EF4-FFF2-40B4-BE49-F238E27FC236}">
                  <a16:creationId xmlns:a16="http://schemas.microsoft.com/office/drawing/2014/main" id="{0EC97590-4640-42E8-9A2A-13F26EDEEA0C}"/>
                </a:ext>
              </a:extLst>
            </p:cNvPr>
            <p:cNvSpPr>
              <a:spLocks/>
            </p:cNvSpPr>
            <p:nvPr/>
          </p:nvSpPr>
          <p:spPr bwMode="auto">
            <a:xfrm>
              <a:off x="582" y="1131"/>
              <a:ext cx="46" cy="46"/>
            </a:xfrm>
            <a:custGeom>
              <a:avLst/>
              <a:gdLst>
                <a:gd name="T0" fmla="*/ 0 w 273"/>
                <a:gd name="T1" fmla="*/ 137 h 273"/>
                <a:gd name="T2" fmla="*/ 137 w 273"/>
                <a:gd name="T3" fmla="*/ 0 h 273"/>
                <a:gd name="T4" fmla="*/ 273 w 273"/>
                <a:gd name="T5" fmla="*/ 137 h 273"/>
                <a:gd name="T6" fmla="*/ 137 w 273"/>
                <a:gd name="T7" fmla="*/ 273 h 273"/>
                <a:gd name="T8" fmla="*/ 0 w 273"/>
                <a:gd name="T9" fmla="*/ 137 h 273"/>
              </a:gdLst>
              <a:ahLst/>
              <a:cxnLst>
                <a:cxn ang="0">
                  <a:pos x="T0" y="T1"/>
                </a:cxn>
                <a:cxn ang="0">
                  <a:pos x="T2" y="T3"/>
                </a:cxn>
                <a:cxn ang="0">
                  <a:pos x="T4" y="T5"/>
                </a:cxn>
                <a:cxn ang="0">
                  <a:pos x="T6" y="T7"/>
                </a:cxn>
                <a:cxn ang="0">
                  <a:pos x="T8" y="T9"/>
                </a:cxn>
              </a:cxnLst>
              <a:rect l="0" t="0" r="r" b="b"/>
              <a:pathLst>
                <a:path w="273" h="273">
                  <a:moveTo>
                    <a:pt x="0" y="137"/>
                  </a:moveTo>
                  <a:lnTo>
                    <a:pt x="137" y="0"/>
                  </a:lnTo>
                  <a:lnTo>
                    <a:pt x="273" y="137"/>
                  </a:lnTo>
                  <a:lnTo>
                    <a:pt x="137" y="273"/>
                  </a:lnTo>
                  <a:lnTo>
                    <a:pt x="0" y="137"/>
                  </a:lnTo>
                  <a:close/>
                </a:path>
              </a:pathLst>
            </a:custGeom>
            <a:grpFill/>
            <a:ln w="12700"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sp>
          <p:nvSpPr>
            <p:cNvPr id="111" name="Freeform 9">
              <a:extLst>
                <a:ext uri="{FF2B5EF4-FFF2-40B4-BE49-F238E27FC236}">
                  <a16:creationId xmlns:a16="http://schemas.microsoft.com/office/drawing/2014/main" id="{388AC070-6A91-4240-AF33-A4953009903F}"/>
                </a:ext>
              </a:extLst>
            </p:cNvPr>
            <p:cNvSpPr>
              <a:spLocks/>
            </p:cNvSpPr>
            <p:nvPr/>
          </p:nvSpPr>
          <p:spPr bwMode="auto">
            <a:xfrm>
              <a:off x="586" y="1169"/>
              <a:ext cx="38" cy="54"/>
            </a:xfrm>
            <a:custGeom>
              <a:avLst/>
              <a:gdLst>
                <a:gd name="T0" fmla="*/ 224 w 224"/>
                <a:gd name="T1" fmla="*/ 319 h 319"/>
                <a:gd name="T2" fmla="*/ 162 w 224"/>
                <a:gd name="T3" fmla="*/ 0 h 319"/>
                <a:gd name="T4" fmla="*/ 113 w 224"/>
                <a:gd name="T5" fmla="*/ 49 h 319"/>
                <a:gd name="T6" fmla="*/ 65 w 224"/>
                <a:gd name="T7" fmla="*/ 1 h 319"/>
                <a:gd name="T8" fmla="*/ 0 w 224"/>
                <a:gd name="T9" fmla="*/ 319 h 319"/>
              </a:gdLst>
              <a:ahLst/>
              <a:cxnLst>
                <a:cxn ang="0">
                  <a:pos x="T0" y="T1"/>
                </a:cxn>
                <a:cxn ang="0">
                  <a:pos x="T2" y="T3"/>
                </a:cxn>
                <a:cxn ang="0">
                  <a:pos x="T4" y="T5"/>
                </a:cxn>
                <a:cxn ang="0">
                  <a:pos x="T6" y="T7"/>
                </a:cxn>
                <a:cxn ang="0">
                  <a:pos x="T8" y="T9"/>
                </a:cxn>
              </a:cxnLst>
              <a:rect l="0" t="0" r="r" b="b"/>
              <a:pathLst>
                <a:path w="224" h="319">
                  <a:moveTo>
                    <a:pt x="224" y="319"/>
                  </a:moveTo>
                  <a:lnTo>
                    <a:pt x="162" y="0"/>
                  </a:lnTo>
                  <a:lnTo>
                    <a:pt x="113" y="49"/>
                  </a:lnTo>
                  <a:lnTo>
                    <a:pt x="65" y="1"/>
                  </a:lnTo>
                  <a:lnTo>
                    <a:pt x="0" y="319"/>
                  </a:lnTo>
                </a:path>
              </a:pathLst>
            </a:custGeom>
            <a:grpFill/>
            <a:ln w="12700" cap="rnd">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Arial"/>
                <a:ea typeface="+mn-ea"/>
                <a:cs typeface="+mn-cs"/>
              </a:endParaRPr>
            </a:p>
          </p:txBody>
        </p:sp>
      </p:grpSp>
      <p:grpSp>
        <p:nvGrpSpPr>
          <p:cNvPr id="57" name="Group 56">
            <a:extLst>
              <a:ext uri="{FF2B5EF4-FFF2-40B4-BE49-F238E27FC236}">
                <a16:creationId xmlns:a16="http://schemas.microsoft.com/office/drawing/2014/main" id="{6B162CE2-E0C8-42D2-8C35-44910DCE1DDB}"/>
              </a:ext>
            </a:extLst>
          </p:cNvPr>
          <p:cNvGrpSpPr/>
          <p:nvPr/>
        </p:nvGrpSpPr>
        <p:grpSpPr>
          <a:xfrm>
            <a:off x="8118199" y="1040912"/>
            <a:ext cx="3530229" cy="555279"/>
            <a:chOff x="3150020" y="633645"/>
            <a:chExt cx="3032760" cy="555279"/>
          </a:xfrm>
        </p:grpSpPr>
        <p:sp>
          <p:nvSpPr>
            <p:cNvPr id="58" name="Rectangle 57">
              <a:extLst>
                <a:ext uri="{FF2B5EF4-FFF2-40B4-BE49-F238E27FC236}">
                  <a16:creationId xmlns:a16="http://schemas.microsoft.com/office/drawing/2014/main" id="{E7D89D47-8C36-498F-81F7-7C3A49F6EF7D}"/>
                </a:ext>
              </a:extLst>
            </p:cNvPr>
            <p:cNvSpPr/>
            <p:nvPr/>
          </p:nvSpPr>
          <p:spPr bwMode="gray">
            <a:xfrm>
              <a:off x="3150020" y="633645"/>
              <a:ext cx="3032760" cy="45719"/>
            </a:xfrm>
            <a:prstGeom prst="rect">
              <a:avLst/>
            </a:prstGeom>
            <a:solidFill>
              <a:srgbClr val="FBB24B"/>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59" name="Rectangle 58">
              <a:extLst>
                <a:ext uri="{FF2B5EF4-FFF2-40B4-BE49-F238E27FC236}">
                  <a16:creationId xmlns:a16="http://schemas.microsoft.com/office/drawing/2014/main" id="{A40A5814-3F02-4D40-9DAA-FB52F91476DC}"/>
                </a:ext>
              </a:extLst>
            </p:cNvPr>
            <p:cNvSpPr/>
            <p:nvPr/>
          </p:nvSpPr>
          <p:spPr bwMode="gray">
            <a:xfrm flipV="1">
              <a:off x="3150020" y="679364"/>
              <a:ext cx="3032760" cy="457200"/>
            </a:xfrm>
            <a:prstGeom prst="rect">
              <a:avLst/>
            </a:prstGeom>
            <a:solidFill>
              <a:srgbClr val="0095D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64" name="TextBox 63">
              <a:extLst>
                <a:ext uri="{FF2B5EF4-FFF2-40B4-BE49-F238E27FC236}">
                  <a16:creationId xmlns:a16="http://schemas.microsoft.com/office/drawing/2014/main" id="{08E8AFFF-B31C-4A29-91D4-020B8B5394F1}"/>
                </a:ext>
              </a:extLst>
            </p:cNvPr>
            <p:cNvSpPr txBox="1"/>
            <p:nvPr/>
          </p:nvSpPr>
          <p:spPr>
            <a:xfrm>
              <a:off x="4014614" y="715635"/>
              <a:ext cx="1371600" cy="360000"/>
            </a:xfrm>
            <a:prstGeom prst="rect">
              <a:avLst/>
            </a:prstGeom>
            <a:noFill/>
          </p:spPr>
          <p:txBody>
            <a:bodyPr wrap="none" lIns="0" tIns="0" rIns="0" bIns="0" rtlCol="0" anchor="ctr">
              <a:noAutofit/>
            </a:bodyPr>
            <a:lstStyle/>
            <a:p>
              <a:pPr lvl="0" indent="92075"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Explanatory documents</a:t>
              </a:r>
            </a:p>
          </p:txBody>
        </p:sp>
        <p:sp>
          <p:nvSpPr>
            <p:cNvPr id="65" name="Isosceles Triangle 64">
              <a:extLst>
                <a:ext uri="{FF2B5EF4-FFF2-40B4-BE49-F238E27FC236}">
                  <a16:creationId xmlns:a16="http://schemas.microsoft.com/office/drawing/2014/main" id="{A37FE9F5-100C-45BA-B8B2-715B9E4E3F80}"/>
                </a:ext>
              </a:extLst>
            </p:cNvPr>
            <p:cNvSpPr/>
            <p:nvPr/>
          </p:nvSpPr>
          <p:spPr>
            <a:xfrm flipV="1">
              <a:off x="5785619" y="984544"/>
              <a:ext cx="396938" cy="204380"/>
            </a:xfrm>
            <a:prstGeom prst="triangle">
              <a:avLst/>
            </a:prstGeom>
            <a:solidFill>
              <a:srgbClr val="0095D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66" name="Rectangle 65">
            <a:extLst>
              <a:ext uri="{FF2B5EF4-FFF2-40B4-BE49-F238E27FC236}">
                <a16:creationId xmlns:a16="http://schemas.microsoft.com/office/drawing/2014/main" id="{AA51B90A-52F4-4DD0-985A-AD0C246F511C}"/>
              </a:ext>
            </a:extLst>
          </p:cNvPr>
          <p:cNvSpPr/>
          <p:nvPr/>
        </p:nvSpPr>
        <p:spPr>
          <a:xfrm>
            <a:off x="8182714" y="1711591"/>
            <a:ext cx="3165114" cy="261610"/>
          </a:xfrm>
          <a:prstGeom prst="rect">
            <a:avLst/>
          </a:prstGeom>
        </p:spPr>
        <p:txBody>
          <a:bodyPr wrap="square">
            <a:spAutoFit/>
          </a:bodyPr>
          <a:lstStyle/>
          <a:p>
            <a:pPr defTabSz="914400"/>
            <a:r>
              <a:rPr lang="en-US" sz="1100" b="1">
                <a:ea typeface="ＭＳ Ｐゴシック" pitchFamily="34" charset="-128"/>
              </a:rPr>
              <a:t>Problem Management Scenario Explained</a:t>
            </a:r>
          </a:p>
        </p:txBody>
      </p:sp>
      <p:sp>
        <p:nvSpPr>
          <p:cNvPr id="68" name="Rectangle 67">
            <a:extLst>
              <a:ext uri="{FF2B5EF4-FFF2-40B4-BE49-F238E27FC236}">
                <a16:creationId xmlns:a16="http://schemas.microsoft.com/office/drawing/2014/main" id="{6361181A-DD1F-4D08-B4D8-C11F57497DBC}"/>
              </a:ext>
            </a:extLst>
          </p:cNvPr>
          <p:cNvSpPr/>
          <p:nvPr/>
        </p:nvSpPr>
        <p:spPr>
          <a:xfrm>
            <a:off x="8157109" y="3956313"/>
            <a:ext cx="3323404" cy="261610"/>
          </a:xfrm>
          <a:prstGeom prst="rect">
            <a:avLst/>
          </a:prstGeom>
        </p:spPr>
        <p:txBody>
          <a:bodyPr wrap="square">
            <a:spAutoFit/>
          </a:bodyPr>
          <a:lstStyle/>
          <a:p>
            <a:pPr defTabSz="914400"/>
            <a:r>
              <a:rPr lang="en-US" sz="1100" b="1">
                <a:ea typeface="ＭＳ Ｐゴシック" pitchFamily="34" charset="-128"/>
              </a:rPr>
              <a:t>Problem Management Process in </a:t>
            </a:r>
            <a:r>
              <a:rPr lang="en-US" sz="1100" b="1" err="1">
                <a:ea typeface="ＭＳ Ｐゴシック" pitchFamily="34" charset="-128"/>
              </a:rPr>
              <a:t>Signavio</a:t>
            </a:r>
            <a:endParaRPr lang="en-US" sz="1100" b="1">
              <a:ea typeface="ＭＳ Ｐゴシック" pitchFamily="34" charset="-128"/>
            </a:endParaRPr>
          </a:p>
        </p:txBody>
      </p:sp>
      <p:pic>
        <p:nvPicPr>
          <p:cNvPr id="3" name="Picture 2">
            <a:hlinkClick r:id="rId13"/>
            <a:extLst>
              <a:ext uri="{FF2B5EF4-FFF2-40B4-BE49-F238E27FC236}">
                <a16:creationId xmlns:a16="http://schemas.microsoft.com/office/drawing/2014/main" id="{58F42FBA-6960-4A68-A6F2-32758D923F50}"/>
              </a:ext>
            </a:extLst>
          </p:cNvPr>
          <p:cNvPicPr>
            <a:picLocks noChangeAspect="1"/>
          </p:cNvPicPr>
          <p:nvPr/>
        </p:nvPicPr>
        <p:blipFill>
          <a:blip r:embed="rId14"/>
          <a:stretch>
            <a:fillRect/>
          </a:stretch>
        </p:blipFill>
        <p:spPr>
          <a:xfrm>
            <a:off x="8250275" y="2191346"/>
            <a:ext cx="2063096" cy="1141500"/>
          </a:xfrm>
          <a:prstGeom prst="rect">
            <a:avLst/>
          </a:prstGeom>
        </p:spPr>
      </p:pic>
      <p:pic>
        <p:nvPicPr>
          <p:cNvPr id="5" name="Picture 4">
            <a:hlinkClick r:id="rId15"/>
            <a:extLst>
              <a:ext uri="{FF2B5EF4-FFF2-40B4-BE49-F238E27FC236}">
                <a16:creationId xmlns:a16="http://schemas.microsoft.com/office/drawing/2014/main" id="{7CBB41FD-21FF-413F-979B-8C5C37BC8386}"/>
              </a:ext>
            </a:extLst>
          </p:cNvPr>
          <p:cNvPicPr>
            <a:picLocks noChangeAspect="1"/>
          </p:cNvPicPr>
          <p:nvPr/>
        </p:nvPicPr>
        <p:blipFill>
          <a:blip r:embed="rId16"/>
          <a:stretch>
            <a:fillRect/>
          </a:stretch>
        </p:blipFill>
        <p:spPr>
          <a:xfrm>
            <a:off x="8250275" y="4453265"/>
            <a:ext cx="2063096" cy="1157007"/>
          </a:xfrm>
          <a:prstGeom prst="rect">
            <a:avLst/>
          </a:prstGeom>
        </p:spPr>
      </p:pic>
      <p:sp>
        <p:nvSpPr>
          <p:cNvPr id="69" name="Rectangle 68">
            <a:extLst>
              <a:ext uri="{FF2B5EF4-FFF2-40B4-BE49-F238E27FC236}">
                <a16:creationId xmlns:a16="http://schemas.microsoft.com/office/drawing/2014/main" id="{4A68B99A-24D9-484A-BBD4-B2E4F0598796}"/>
              </a:ext>
            </a:extLst>
          </p:cNvPr>
          <p:cNvSpPr/>
          <p:nvPr/>
        </p:nvSpPr>
        <p:spPr>
          <a:xfrm>
            <a:off x="8211288" y="3375088"/>
            <a:ext cx="2382837" cy="200055"/>
          </a:xfrm>
          <a:prstGeom prst="rect">
            <a:avLst/>
          </a:prstGeom>
        </p:spPr>
        <p:txBody>
          <a:bodyPr wrap="square">
            <a:spAutoFit/>
          </a:bodyPr>
          <a:lstStyle/>
          <a:p>
            <a:pPr defTabSz="914400"/>
            <a:r>
              <a:rPr lang="en-US" sz="700">
                <a:ea typeface="ＭＳ Ｐゴシック" pitchFamily="34" charset="-128"/>
              </a:rPr>
              <a:t>Click on the picture to open the video</a:t>
            </a:r>
          </a:p>
        </p:txBody>
      </p:sp>
      <p:sp>
        <p:nvSpPr>
          <p:cNvPr id="72" name="Rectangle 71">
            <a:extLst>
              <a:ext uri="{FF2B5EF4-FFF2-40B4-BE49-F238E27FC236}">
                <a16:creationId xmlns:a16="http://schemas.microsoft.com/office/drawing/2014/main" id="{A8C49809-4681-4FDD-BBCA-61842DA14B4E}"/>
              </a:ext>
            </a:extLst>
          </p:cNvPr>
          <p:cNvSpPr/>
          <p:nvPr/>
        </p:nvSpPr>
        <p:spPr>
          <a:xfrm>
            <a:off x="8211288" y="5645559"/>
            <a:ext cx="2382837" cy="200055"/>
          </a:xfrm>
          <a:prstGeom prst="rect">
            <a:avLst/>
          </a:prstGeom>
        </p:spPr>
        <p:txBody>
          <a:bodyPr wrap="square">
            <a:spAutoFit/>
          </a:bodyPr>
          <a:lstStyle/>
          <a:p>
            <a:pPr defTabSz="914400"/>
            <a:r>
              <a:rPr lang="en-US" sz="700">
                <a:ea typeface="ＭＳ Ｐゴシック" pitchFamily="34" charset="-128"/>
              </a:rPr>
              <a:t>Click on the picture to open the video</a:t>
            </a:r>
          </a:p>
        </p:txBody>
      </p:sp>
      <p:sp>
        <p:nvSpPr>
          <p:cNvPr id="6" name="Rectangle 5">
            <a:extLst>
              <a:ext uri="{FF2B5EF4-FFF2-40B4-BE49-F238E27FC236}">
                <a16:creationId xmlns:a16="http://schemas.microsoft.com/office/drawing/2014/main" id="{52329796-B39E-4358-8733-91A156F575C0}"/>
              </a:ext>
            </a:extLst>
          </p:cNvPr>
          <p:cNvSpPr/>
          <p:nvPr/>
        </p:nvSpPr>
        <p:spPr>
          <a:xfrm>
            <a:off x="4261104" y="1711841"/>
            <a:ext cx="3660072" cy="5001369"/>
          </a:xfrm>
          <a:prstGeom prst="rect">
            <a:avLst/>
          </a:prstGeom>
        </p:spPr>
        <p:txBody>
          <a:bodyPr wrap="square" anchor="t">
            <a:spAutoFit/>
          </a:bodyPr>
          <a:lstStyle/>
          <a:p>
            <a:pPr defTabSz="914400"/>
            <a:r>
              <a:rPr lang="en-US" sz="1100" b="1">
                <a:ea typeface="ＭＳ Ｐゴシック"/>
                <a:cs typeface="Arial"/>
              </a:rPr>
              <a:t>Definition</a:t>
            </a:r>
          </a:p>
          <a:p>
            <a:pPr defTabSz="914400"/>
            <a:endParaRPr lang="en-US" sz="1100" b="1">
              <a:ea typeface="ＭＳ Ｐゴシック"/>
              <a:cs typeface="Arial"/>
            </a:endParaRPr>
          </a:p>
          <a:p>
            <a:pPr marL="228600" indent="-228600" defTabSz="914400">
              <a:buAutoNum type="arabicPeriod"/>
            </a:pPr>
            <a:r>
              <a:rPr lang="en-US" sz="1100" b="1">
                <a:ea typeface="ＭＳ Ｐゴシック"/>
                <a:cs typeface="Arial"/>
              </a:rPr>
              <a:t>Problem Record: </a:t>
            </a:r>
            <a:r>
              <a:rPr lang="en-US" sz="1100">
                <a:ea typeface="ＭＳ Ｐゴシック"/>
                <a:cs typeface="Arial"/>
              </a:rPr>
              <a:t>Problem record (commonly used as Problem) is the entity that contains all the details of the root cause of one or more incidents or cases and such root cause is usually unknown at the time when a problem record is created.</a:t>
            </a:r>
          </a:p>
          <a:p>
            <a:pPr defTabSz="914400"/>
            <a:endParaRPr lang="en-US" sz="1100">
              <a:ea typeface="ＭＳ Ｐゴシック"/>
              <a:cs typeface="Arial"/>
            </a:endParaRPr>
          </a:p>
          <a:p>
            <a:pPr marL="228600" indent="-228600" defTabSz="914400">
              <a:buFont typeface="+mj-lt"/>
              <a:buAutoNum type="arabicPeriod" startAt="2"/>
            </a:pPr>
            <a:r>
              <a:rPr lang="en-US" sz="1100" b="1">
                <a:ea typeface="ＭＳ Ｐゴシック"/>
                <a:cs typeface="Arial"/>
              </a:rPr>
              <a:t>Problem Management: </a:t>
            </a:r>
            <a:r>
              <a:rPr lang="en-US" sz="1100">
                <a:ea typeface="ＭＳ Ｐゴシック"/>
                <a:cs typeface="Arial"/>
              </a:rPr>
              <a:t>Problem Management is the process responsible for managing the lifecycle of all problems. The primary objectives of problem management are to prevent cases/incidents from happening and to minimize the impact of cases/incidents that cannot be prevented. </a:t>
            </a:r>
          </a:p>
          <a:p>
            <a:pPr defTabSz="914400"/>
            <a:endParaRPr lang="en-US" sz="1100">
              <a:solidFill>
                <a:srgbClr val="FF0000"/>
              </a:solidFill>
              <a:ea typeface="ＭＳ Ｐゴシック"/>
              <a:cs typeface="Arial"/>
            </a:endParaRPr>
          </a:p>
          <a:p>
            <a:pPr marL="228600" indent="-228600" defTabSz="914400">
              <a:buFont typeface="+mj-lt"/>
              <a:buAutoNum type="arabicPeriod" startAt="3"/>
            </a:pPr>
            <a:r>
              <a:rPr lang="en-US" sz="1100" b="1">
                <a:ea typeface="ＭＳ Ｐゴシック"/>
                <a:cs typeface="Arial"/>
              </a:rPr>
              <a:t>Root Cause: </a:t>
            </a:r>
            <a:r>
              <a:rPr lang="en-US" sz="1100">
                <a:ea typeface="ＭＳ Ｐゴシック"/>
                <a:cs typeface="Arial"/>
              </a:rPr>
              <a:t>Root cause is the underlying or original cause of an issue.</a:t>
            </a:r>
          </a:p>
          <a:p>
            <a:pPr defTabSz="914400"/>
            <a:endParaRPr lang="en-US" sz="1100">
              <a:ea typeface="ＭＳ Ｐゴシック"/>
              <a:cs typeface="Arial"/>
            </a:endParaRPr>
          </a:p>
          <a:p>
            <a:pPr marL="228600" indent="-228600" defTabSz="914400">
              <a:buFont typeface="+mj-lt"/>
              <a:buAutoNum type="arabicPeriod" startAt="4"/>
            </a:pPr>
            <a:r>
              <a:rPr lang="en-US" sz="1100" b="1">
                <a:ea typeface="ＭＳ Ｐゴシック"/>
                <a:cs typeface="Arial"/>
              </a:rPr>
              <a:t>Root Cause Analysis (RCA): </a:t>
            </a:r>
            <a:r>
              <a:rPr lang="en-US" sz="1100">
                <a:ea typeface="ＭＳ Ｐゴシック"/>
                <a:cs typeface="Arial"/>
              </a:rPr>
              <a:t>Root Cause Analysis is a problem-solving method, which focuses on uncovering the root cause(s) of an issue rather than dealing with symptoms. RCA typically, but not exclusively, concentrates on IT infrastructure failures.</a:t>
            </a:r>
          </a:p>
          <a:p>
            <a:pPr marL="228600" indent="-228600" defTabSz="914400">
              <a:buAutoNum type="arabicPeriod" startAt="4"/>
            </a:pPr>
            <a:endParaRPr lang="en-US" sz="1100">
              <a:ea typeface="ＭＳ Ｐゴシック"/>
              <a:cs typeface="Arial"/>
            </a:endParaRPr>
          </a:p>
          <a:p>
            <a:pPr marL="228600" indent="-228600" defTabSz="914400">
              <a:buAutoNum type="arabicPeriod" startAt="4"/>
            </a:pPr>
            <a:r>
              <a:rPr lang="en-US" sz="1100" b="1">
                <a:ea typeface="ＭＳ Ｐゴシック"/>
                <a:cs typeface="Arial"/>
              </a:rPr>
              <a:t>Issue:</a:t>
            </a:r>
            <a:r>
              <a:rPr lang="en-US" sz="1100">
                <a:ea typeface="ＭＳ Ｐゴシック"/>
                <a:cs typeface="Arial"/>
              </a:rPr>
              <a:t> Issue is any kind of circumstance that generally needs a follow-up, but has not been categorized as any kind of record type.</a:t>
            </a:r>
          </a:p>
        </p:txBody>
      </p:sp>
      <p:pic>
        <p:nvPicPr>
          <p:cNvPr id="53" name="Picture 52">
            <a:extLst>
              <a:ext uri="{FF2B5EF4-FFF2-40B4-BE49-F238E27FC236}">
                <a16:creationId xmlns:a16="http://schemas.microsoft.com/office/drawing/2014/main" id="{194A83EF-2CA4-420B-93E5-A059BBF1515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6675" y="3254723"/>
            <a:ext cx="3459091" cy="502371"/>
          </a:xfrm>
          <a:prstGeom prst="rect">
            <a:avLst/>
          </a:prstGeom>
        </p:spPr>
      </p:pic>
      <p:sp>
        <p:nvSpPr>
          <p:cNvPr id="54" name="TextBox 53">
            <a:extLst>
              <a:ext uri="{FF2B5EF4-FFF2-40B4-BE49-F238E27FC236}">
                <a16:creationId xmlns:a16="http://schemas.microsoft.com/office/drawing/2014/main" id="{FDF31EFD-0D4E-4E7F-9024-C3FCF7EE55BB}"/>
              </a:ext>
            </a:extLst>
          </p:cNvPr>
          <p:cNvSpPr txBox="1"/>
          <p:nvPr/>
        </p:nvSpPr>
        <p:spPr>
          <a:xfrm>
            <a:off x="1027019" y="3349462"/>
            <a:ext cx="1605995" cy="304800"/>
          </a:xfrm>
          <a:prstGeom prst="rect">
            <a:avLst/>
          </a:prstGeom>
          <a:noFill/>
        </p:spPr>
        <p:txBody>
          <a:bodyPr wrap="none" lIns="0" tIns="0" rIns="0" bIns="0" rtlCol="0" anchor="ctr">
            <a:noAutofit/>
          </a:bodyPr>
          <a:lstStyle/>
          <a:p>
            <a:pPr indent="92075" defTabSz="914400" eaLnBrk="0" fontAlgn="base" hangingPunct="0">
              <a:spcBef>
                <a:spcPts val="400"/>
              </a:spcBef>
              <a:spcAft>
                <a:spcPts val="900"/>
              </a:spcAft>
            </a:pPr>
            <a:r>
              <a:rPr lang="en-AU" altLang="en-US" sz="1200" b="1">
                <a:solidFill>
                  <a:prstClr val="white"/>
                </a:solidFill>
                <a:ea typeface="Verdana" panose="020B0604030504040204" pitchFamily="34" charset="0"/>
                <a:cs typeface="Verdana" panose="020B0604030504040204" pitchFamily="34" charset="0"/>
              </a:rPr>
              <a:t>Prerequisites</a:t>
            </a:r>
          </a:p>
        </p:txBody>
      </p:sp>
      <p:pic>
        <p:nvPicPr>
          <p:cNvPr id="55" name="Picture 76">
            <a:extLst>
              <a:ext uri="{FF2B5EF4-FFF2-40B4-BE49-F238E27FC236}">
                <a16:creationId xmlns:a16="http://schemas.microsoft.com/office/drawing/2014/main" id="{7838421E-2BCE-4292-A5D8-3F68B239A623}"/>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391457" y="3146375"/>
            <a:ext cx="675418" cy="675418"/>
          </a:xfrm>
          <a:prstGeom prst="rect">
            <a:avLst/>
          </a:prstGeom>
        </p:spPr>
      </p:pic>
      <p:pic>
        <p:nvPicPr>
          <p:cNvPr id="56" name="Picture 11">
            <a:extLst>
              <a:ext uri="{FF2B5EF4-FFF2-40B4-BE49-F238E27FC236}">
                <a16:creationId xmlns:a16="http://schemas.microsoft.com/office/drawing/2014/main" id="{D0413E84-F15F-4004-BBE1-EC7914F87C33}"/>
              </a:ext>
            </a:extLst>
          </p:cNvPr>
          <p:cNvPicPr>
            <a:picLocks noChangeAspect="1"/>
          </p:cNvPicPr>
          <p:nvPr/>
        </p:nvPicPr>
        <p:blipFill>
          <a:blip r:embed="rId18">
            <a:extLst>
              <a:ext uri="{BEBA8EAE-BF5A-486C-A8C5-ECC9F3942E4B}">
                <a14:imgProps xmlns:a14="http://schemas.microsoft.com/office/drawing/2010/main">
                  <a14:imgLayer r:embed="rId19">
                    <a14:imgEffect>
                      <a14:backgroundRemoval t="8861" b="96203" l="8511" r="92553">
                        <a14:foregroundMark x1="65957" y1="64557" x2="65957" y2="64557"/>
                        <a14:foregroundMark x1="64894" y1="89873" x2="64894" y2="89873"/>
                        <a14:foregroundMark x1="62766" y1="49367" x2="62766" y2="49367"/>
                        <a14:foregroundMark x1="65957" y1="96203" x2="65957" y2="96203"/>
                        <a14:foregroundMark x1="92553" y1="35443" x2="92553" y2="35443"/>
                        <a14:foregroundMark x1="60638" y1="10127" x2="60638" y2="10127"/>
                        <a14:backgroundMark x1="31915" y1="17722" x2="31915" y2="17722"/>
                        <a14:backgroundMark x1="10638" y1="73418" x2="10638" y2="73418"/>
                        <a14:backgroundMark x1="79787" y1="65823" x2="79787" y2="65823"/>
                        <a14:backgroundMark x1="75532" y1="41772" x2="75532" y2="41772"/>
                        <a14:backgroundMark x1="88298" y1="10127" x2="88298" y2="10127"/>
                      </a14:backgroundRemoval>
                    </a14:imgEffect>
                  </a14:imgLayer>
                </a14:imgProps>
              </a:ext>
            </a:extLst>
          </a:blip>
          <a:stretch>
            <a:fillRect/>
          </a:stretch>
        </p:blipFill>
        <p:spPr>
          <a:xfrm>
            <a:off x="8346859" y="1172532"/>
            <a:ext cx="413466" cy="288518"/>
          </a:xfrm>
          <a:prstGeom prst="rect">
            <a:avLst/>
          </a:prstGeom>
        </p:spPr>
      </p:pic>
    </p:spTree>
    <p:extLst>
      <p:ext uri="{BB962C8B-B14F-4D97-AF65-F5344CB8AC3E}">
        <p14:creationId xmlns:p14="http://schemas.microsoft.com/office/powerpoint/2010/main" val="12833801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B2824D-A8B9-4D7F-A97E-FC026F6C670C}"/>
              </a:ext>
            </a:extLst>
          </p:cNvPr>
          <p:cNvSpPr>
            <a:spLocks noGrp="1"/>
          </p:cNvSpPr>
          <p:nvPr>
            <p:ph type="body" sz="quarter" idx="10"/>
          </p:nvPr>
        </p:nvSpPr>
        <p:spPr/>
        <p:txBody>
          <a:bodyPr/>
          <a:lstStyle/>
          <a:p>
            <a:r>
              <a:rPr lang="en-US">
                <a:hlinkClick r:id="rId2"/>
              </a:rPr>
              <a:t>HCSM Jam page</a:t>
            </a:r>
            <a:endParaRPr lang="en-US"/>
          </a:p>
          <a:p>
            <a:r>
              <a:rPr lang="en-US">
                <a:hlinkClick r:id="rId3"/>
              </a:rPr>
              <a:t>SAPedia</a:t>
            </a:r>
            <a:endParaRPr lang="en-US"/>
          </a:p>
          <a:p>
            <a:r>
              <a:rPr lang="en-US">
                <a:hlinkClick r:id="rId4"/>
              </a:rPr>
              <a:t>SAPterm.com</a:t>
            </a:r>
            <a:endParaRPr lang="en-US"/>
          </a:p>
        </p:txBody>
      </p:sp>
      <p:sp>
        <p:nvSpPr>
          <p:cNvPr id="3" name="Title 2">
            <a:extLst>
              <a:ext uri="{FF2B5EF4-FFF2-40B4-BE49-F238E27FC236}">
                <a16:creationId xmlns:a16="http://schemas.microsoft.com/office/drawing/2014/main" id="{780B31BF-CDD8-49C8-9040-4C7BAEB5B44E}"/>
              </a:ext>
            </a:extLst>
          </p:cNvPr>
          <p:cNvSpPr>
            <a:spLocks noGrp="1"/>
          </p:cNvSpPr>
          <p:nvPr>
            <p:ph type="title"/>
          </p:nvPr>
        </p:nvSpPr>
        <p:spPr/>
        <p:txBody>
          <a:bodyPr/>
          <a:lstStyle/>
          <a:p>
            <a:r>
              <a:rPr lang="en-US"/>
              <a:t>Stay connected and updated</a:t>
            </a:r>
          </a:p>
        </p:txBody>
      </p:sp>
    </p:spTree>
    <p:extLst>
      <p:ext uri="{BB962C8B-B14F-4D97-AF65-F5344CB8AC3E}">
        <p14:creationId xmlns:p14="http://schemas.microsoft.com/office/powerpoint/2010/main" val="20152117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2MXVppSQRJ.7Ur7Jhzym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59RqtFARQ7uqmYb1UP5jz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6h4OKJDTA2eZyhzjGYWU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an6_DEhSsGtrVJhET9PD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OY61c9cThyBAUmwxKGUw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BIIbTgbR3Sh0XS4S8rme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oBqoETNTQ62094BnUUW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81zgHvJTcq4wrWggTLDr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81zgHvJTcq4wrWggTLDr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81zgHvJTcq4wrWggTLDr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q81zgHvJTcq4wrWggTLDr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81zgHvJTcq4wrWggTLD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eAcWzghSL6MckrbEoqt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UuqbY4NQzerFUlexW2Wa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1FhRFdhNTIKwFXRoYLxlc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P 2019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1" id="{0F0DE4AE-4B25-4696-9992-64270CB37F61}" vid="{CFBF233B-4965-47F7-9E55-FF6B22350CE1}"/>
    </a:ext>
  </a:extLst>
</a:theme>
</file>

<file path=ppt/theme/theme2.xml><?xml version="1.0" encoding="utf-8"?>
<a:theme xmlns:a="http://schemas.openxmlformats.org/drawingml/2006/main" name="SAP 2019 16x9 blue">
  <a:themeElements>
    <a:clrScheme name="SAP_Colors2018 - blue">
      <a:dk1>
        <a:srgbClr val="00195A"/>
      </a:dk1>
      <a:lt1>
        <a:srgbClr val="FFFFFF"/>
      </a:lt1>
      <a:dk2>
        <a:srgbClr val="CCCCCC"/>
      </a:dk2>
      <a:lt2>
        <a:srgbClr val="999999"/>
      </a:lt2>
      <a:accent1>
        <a:srgbClr val="F0AB00"/>
      </a:accent1>
      <a:accent2>
        <a:srgbClr val="666666"/>
      </a:accent2>
      <a:accent3>
        <a:srgbClr val="0076CB"/>
      </a:accent3>
      <a:accent4>
        <a:srgbClr val="4FB81C"/>
      </a:accent4>
      <a:accent5>
        <a:srgbClr val="E35500"/>
      </a:accent5>
      <a:accent6>
        <a:srgbClr val="760A85"/>
      </a:accent6>
      <a:hlink>
        <a:srgbClr val="0076CB"/>
      </a:hlink>
      <a:folHlink>
        <a:srgbClr val="0076CB"/>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1" id="{0F0DE4AE-4B25-4696-9992-64270CB37F61}" vid="{6003A77E-DEA4-4308-9E42-7BC45C17D642}"/>
    </a:ext>
  </a:extLst>
</a:theme>
</file>

<file path=ppt/theme/theme3.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FC3EBB584A6904297D0A86EA0402E1A" ma:contentTypeVersion="10" ma:contentTypeDescription="Create a new document." ma:contentTypeScope="" ma:versionID="a7274d8d767993e5e70a294d5fe99d4a">
  <xsd:schema xmlns:xsd="http://www.w3.org/2001/XMLSchema" xmlns:xs="http://www.w3.org/2001/XMLSchema" xmlns:p="http://schemas.microsoft.com/office/2006/metadata/properties" xmlns:ns2="d3900df9-9aa9-44c4-882e-f9cf5011b5a5" xmlns:ns3="f01567fd-a12b-4266-8456-3f962b983be1" targetNamespace="http://schemas.microsoft.com/office/2006/metadata/properties" ma:root="true" ma:fieldsID="784be8364606b778c18a9821dbb38b5c" ns2:_="" ns3:_="">
    <xsd:import namespace="d3900df9-9aa9-44c4-882e-f9cf5011b5a5"/>
    <xsd:import namespace="f01567fd-a12b-4266-8456-3f962b983be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3:SharedWithUsers" minOccurs="0"/>
                <xsd:element ref="ns3:SharedWithDetails" minOccurs="0"/>
                <xsd:element ref="ns2:MediaServiceOCR"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900df9-9aa9-44c4-882e-f9cf5011b5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01567fd-a12b-4266-8456-3f962b983be1"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42F173F-65AA-41E4-9F1D-AC68F79F17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900df9-9aa9-44c4-882e-f9cf5011b5a5"/>
    <ds:schemaRef ds:uri="f01567fd-a12b-4266-8456-3f962b983be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D09090A-30A8-4560-A8AD-93158C41830A}">
  <ds:schemaRefs>
    <ds:schemaRef ds:uri="http://schemas.microsoft.com/office/2006/metadata/properties"/>
    <ds:schemaRef ds:uri="http://purl.org/dc/elements/1.1/"/>
    <ds:schemaRef ds:uri="http://purl.org/dc/terms/"/>
    <ds:schemaRef ds:uri="d3900df9-9aa9-44c4-882e-f9cf5011b5a5"/>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f01567fd-a12b-4266-8456-3f962b983be1"/>
    <ds:schemaRef ds:uri="http://www.w3.org/XML/1998/namespace"/>
  </ds:schemaRefs>
</ds:datastoreItem>
</file>

<file path=customXml/itemProps3.xml><?xml version="1.0" encoding="utf-8"?>
<ds:datastoreItem xmlns:ds="http://schemas.openxmlformats.org/officeDocument/2006/customXml" ds:itemID="{B20206F9-83CB-4028-B2CA-0F78B5C6120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AP_2019_16x9_white</Template>
  <TotalTime>0</TotalTime>
  <Words>1332</Words>
  <Application>Microsoft Office PowerPoint</Application>
  <PresentationFormat>Custom</PresentationFormat>
  <Paragraphs>169</Paragraphs>
  <Slides>8</Slides>
  <Notes>6</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9" baseType="lpstr">
      <vt:lpstr>Arial</vt:lpstr>
      <vt:lpstr>Arial Unicode MS</vt:lpstr>
      <vt:lpstr>Courier New</vt:lpstr>
      <vt:lpstr>MS PGothic</vt:lpstr>
      <vt:lpstr>Symbol</vt:lpstr>
      <vt:lpstr>Verdana</vt:lpstr>
      <vt:lpstr>wingdings</vt:lpstr>
      <vt:lpstr>wingdings</vt:lpstr>
      <vt:lpstr>SAP 2019 16x9 white</vt:lpstr>
      <vt:lpstr>SAP 2019 16x9 blue</vt:lpstr>
      <vt:lpstr>think-cell Slide</vt:lpstr>
      <vt:lpstr>Quick Reference Card Harmonized Customer Service Management Terminology</vt:lpstr>
      <vt:lpstr>Disclaimer</vt:lpstr>
      <vt:lpstr>Harmonized Customer Service Management (HCSM) Terminology</vt:lpstr>
      <vt:lpstr>Harmonized Customer Service Management (HCSM) Terminology</vt:lpstr>
      <vt:lpstr>Harmonized Customer Service Management (HCSM) Terminology</vt:lpstr>
      <vt:lpstr>Harmonized Customer Service Management (HCSM) Terminology</vt:lpstr>
      <vt:lpstr>Harmonized Customer Service Management (HCSM) Terminology</vt:lpstr>
      <vt:lpstr>Stay connected and updated</vt:lpstr>
    </vt:vector>
  </TitlesOfParts>
  <Company>SA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Goes Here and Here and Here</dc:title>
  <dc:creator>deepali.upadhyay@accenture.com</dc:creator>
  <cp:keywords>2019/16:9/white</cp:keywords>
  <cp:lastModifiedBy>Heitmann, Christine</cp:lastModifiedBy>
  <cp:revision>1</cp:revision>
  <dcterms:created xsi:type="dcterms:W3CDTF">2019-01-30T12:35:50Z</dcterms:created>
  <dcterms:modified xsi:type="dcterms:W3CDTF">2019-03-20T14:40: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2FC3EBB584A6904297D0A86EA0402E1A</vt:lpwstr>
  </property>
  <property fmtid="{D5CDD505-2E9C-101B-9397-08002B2CF9AE}" pid="4" name="AuthorIds_UIVersion_8192">
    <vt:lpwstr>559</vt:lpwstr>
  </property>
  <property fmtid="{D5CDD505-2E9C-101B-9397-08002B2CF9AE}" pid="5" name="AuthorIds_UIVersion_80896">
    <vt:lpwstr>171,595</vt:lpwstr>
  </property>
</Properties>
</file>